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2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7"/>
  </p:notesMasterIdLst>
  <p:sldIdLst>
    <p:sldId id="840" r:id="rId2"/>
    <p:sldId id="839" r:id="rId3"/>
    <p:sldId id="275" r:id="rId4"/>
    <p:sldId id="657" r:id="rId5"/>
    <p:sldId id="841" r:id="rId6"/>
    <p:sldId id="842" r:id="rId7"/>
    <p:sldId id="844" r:id="rId8"/>
    <p:sldId id="845" r:id="rId9"/>
    <p:sldId id="846" r:id="rId10"/>
    <p:sldId id="848" r:id="rId11"/>
    <p:sldId id="849" r:id="rId12"/>
    <p:sldId id="850" r:id="rId13"/>
    <p:sldId id="851" r:id="rId14"/>
    <p:sldId id="847" r:id="rId15"/>
    <p:sldId id="843" r:id="rId16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1C1DA"/>
    <a:srgbClr val="4882CA"/>
    <a:srgbClr val="056AA4"/>
    <a:srgbClr val="046DA7"/>
    <a:srgbClr val="1D2D61"/>
    <a:srgbClr val="365597"/>
    <a:srgbClr val="2C4488"/>
    <a:srgbClr val="304B8F"/>
    <a:srgbClr val="0F4274"/>
    <a:srgbClr val="113F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보통 스타일 2 - 강조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51" autoAdjust="0"/>
    <p:restoredTop sz="93703" autoAdjust="0"/>
  </p:normalViewPr>
  <p:slideViewPr>
    <p:cSldViewPr snapToGrid="0" snapToObjects="1">
      <p:cViewPr varScale="1">
        <p:scale>
          <a:sx n="103" d="100"/>
          <a:sy n="103" d="100"/>
        </p:scale>
        <p:origin x="1104" y="11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" d="100"/>
        <a:sy n="2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D8DA2B-CDBE-1C4C-9614-52733C7A4CA2}" type="datetimeFigureOut">
              <a:rPr kumimoji="1" lang="ko-KR" altLang="en-US" smtClean="0"/>
              <a:t>2025-02-02</a:t>
            </a:fld>
            <a:endParaRPr kumimoji="1"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0C78C2-F9D0-9742-BD27-9017CFD1593B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502731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0C78C2-F9D0-9742-BD27-9017CFD1593B}" type="slidenum">
              <a:rPr kumimoji="1" lang="ko-KR" altLang="en-US" smtClean="0"/>
              <a:t>1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41980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CC7F00-5D71-4A80-2EB3-0B5C3BF53E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FD31CE1A-AFA5-AA4B-8102-26994098FDD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AD0B2BC9-E1B8-E72C-54EE-987B9EA6E2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B339BD5-8C99-82DB-734E-423CE7CEC2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10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170652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57FF4C-860E-59E2-5B87-1A5F55C0DE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7AE28B5E-7720-CC37-30D4-7D0007B5B1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ED3F250-3844-0B50-8827-C8713D099B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8F2E71B-49B8-53FB-AA12-BF37CEEF7C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11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6138173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848DD3-86DE-78B4-FD71-7FCF6FCF6D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DF708EB0-F27B-192F-FB55-880DCA8CA6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890FD38-7A1E-0371-1E4C-3D38443E8A8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258CF33-DC70-89C1-2106-D6205BE6D0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12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5746830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A945BD-B146-C96B-13D7-60C0455D40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978C01C7-0FA8-E594-9D94-8E8AA1B65A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4DF1CA8-B049-063A-161C-DD9F4FDE64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771CDB9-2782-FC6B-2BE2-0AEF9276E0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13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4423256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81E1BE-64BF-5CA2-8089-76BDA7C49A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85C38110-F8AE-D88F-30B7-460D7631AB2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912F84F-5EDF-37F0-1F65-8CF1A6301D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29F91DB-2E24-7F3B-D3A4-243831155F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14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0457728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0C78C2-F9D0-9742-BD27-9017CFD1593B}" type="slidenum">
              <a:rPr kumimoji="1" lang="ko-KR" altLang="en-US" smtClean="0"/>
              <a:t>15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7262906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흐름은 소개 </a:t>
            </a:r>
            <a:r>
              <a:rPr lang="en-US" altLang="ko-KR" dirty="0"/>
              <a:t>(</a:t>
            </a:r>
            <a:r>
              <a:rPr lang="ko-KR" altLang="en-US" dirty="0"/>
              <a:t>간략</a:t>
            </a:r>
            <a:r>
              <a:rPr lang="en-US" altLang="ko-KR" dirty="0"/>
              <a:t>)</a:t>
            </a:r>
            <a:r>
              <a:rPr lang="ko-KR" altLang="en-US" dirty="0"/>
              <a:t> </a:t>
            </a:r>
            <a:r>
              <a:rPr lang="en-US" altLang="ko-KR" dirty="0"/>
              <a:t>-&gt;</a:t>
            </a:r>
            <a:r>
              <a:rPr lang="ko-KR" altLang="en-US" dirty="0"/>
              <a:t> </a:t>
            </a:r>
            <a:r>
              <a:rPr lang="en-US" altLang="ko-KR" dirty="0"/>
              <a:t>1</a:t>
            </a:r>
            <a:r>
              <a:rPr lang="ko-KR" altLang="en-US" dirty="0"/>
              <a:t>차 질의응답</a:t>
            </a:r>
            <a:endParaRPr lang="en-US" altLang="ko-KR" dirty="0"/>
          </a:p>
          <a:p>
            <a:r>
              <a:rPr lang="ko-KR" altLang="en-US" dirty="0"/>
              <a:t>스마트 </a:t>
            </a:r>
            <a:r>
              <a:rPr lang="ko-KR" altLang="en-US" dirty="0" err="1"/>
              <a:t>해썹</a:t>
            </a:r>
            <a:r>
              <a:rPr lang="ko-KR" altLang="en-US" dirty="0"/>
              <a:t> 보안 추이 간략히 설명 이러한 것에 </a:t>
            </a:r>
            <a:r>
              <a:rPr lang="ko-KR" altLang="en-US" dirty="0" err="1"/>
              <a:t>보안성을</a:t>
            </a:r>
            <a:r>
              <a:rPr lang="ko-KR" altLang="en-US" dirty="0"/>
              <a:t> 향상 및 인식 개선에 기여하기위해 크게</a:t>
            </a:r>
            <a:r>
              <a:rPr lang="en-US" altLang="ko-KR" dirty="0"/>
              <a:t>,</a:t>
            </a:r>
            <a:r>
              <a:rPr lang="ko-KR" altLang="en-US" dirty="0"/>
              <a:t> 기업 컨설팅 및 연구에 초점을 두고</a:t>
            </a:r>
            <a:endParaRPr lang="en-US" altLang="ko-KR" dirty="0"/>
          </a:p>
          <a:p>
            <a:r>
              <a:rPr lang="ko-KR" altLang="en-US" dirty="0"/>
              <a:t>프로젝트를 진행하였음</a:t>
            </a:r>
            <a:r>
              <a:rPr lang="en-US" altLang="ko-KR" dirty="0"/>
              <a:t>.-&gt;</a:t>
            </a:r>
            <a:r>
              <a:rPr lang="ko-KR" altLang="en-US" dirty="0"/>
              <a:t> 따로 </a:t>
            </a:r>
            <a:r>
              <a:rPr lang="ko-KR" altLang="en-US" dirty="0" err="1"/>
              <a:t>나눠놓음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+</a:t>
            </a:r>
            <a:r>
              <a:rPr lang="ko-KR" altLang="en-US" dirty="0"/>
              <a:t> 경곤 멘토님께 멘토링 시간에 </a:t>
            </a:r>
            <a:r>
              <a:rPr lang="en-US" altLang="ko-KR" dirty="0"/>
              <a:t>/</a:t>
            </a:r>
            <a:r>
              <a:rPr lang="ko-KR" altLang="en-US" dirty="0"/>
              <a:t> 가이드 관련해서 </a:t>
            </a:r>
            <a:r>
              <a:rPr lang="en-US" altLang="ko-KR" dirty="0"/>
              <a:t>Q&amp;A</a:t>
            </a:r>
            <a:r>
              <a:rPr lang="ko-KR" altLang="en-US" dirty="0"/>
              <a:t>부분 질문 드리기</a:t>
            </a:r>
            <a:r>
              <a:rPr lang="en-US" altLang="ko-KR" dirty="0"/>
              <a:t>/</a:t>
            </a:r>
            <a:r>
              <a:rPr lang="ko-KR" altLang="en-US" dirty="0"/>
              <a:t> </a:t>
            </a:r>
            <a:r>
              <a:rPr lang="en-US" altLang="ko-KR" dirty="0" err="1"/>
              <a:t>kve</a:t>
            </a:r>
            <a:r>
              <a:rPr lang="ko-KR" altLang="en-US" dirty="0"/>
              <a:t> 제보 관련해서도 연락 드리기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9AF146-A3BC-4B3F-A52A-9C265CE158D6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323246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3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0026651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4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136757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5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347491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6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8888953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B34CDB-0026-7412-2EB3-1F7C93EBA8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3A220907-483F-142F-5201-A0FBC7DB57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EEAF00FD-80B5-90A0-3FDB-50884C80F3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A67FDCD-10D2-307B-7054-939A721BC3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7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6276337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4DFDD0-3E0F-0EDF-8807-7120F48141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1697E26F-35A2-B9BA-8CB7-D3051C99B2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DC0D6C58-8064-FC8D-20A0-4D54DBB790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70BC96C-A0F7-366B-E7EA-0F10B3B2BE0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8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3636388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D831F0-701A-1E0E-4A47-5029552CF8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B8F8D1E6-E834-81E1-9F3A-E450C52B01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BEB55F38-80CA-2B8A-733C-85C4A96E4C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B9A7741-415C-87B4-6A59-0B69315E1D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2C2F3-FCE9-2641-9874-FF90DF4DF6C4}" type="slidenum">
              <a:rPr kumimoji="1" lang="ko-KR" altLang="en-US" smtClean="0"/>
              <a:t>9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8696869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5AB9A7E-2C71-F74B-8A4B-D09299658F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571AA206-5190-9741-A769-4D4BBE8A4D0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B452BFC-9CFE-3349-98F9-D46E862938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02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180730C-3908-6D4F-A810-367FAEF4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854FA5B-733A-2146-AF2D-E1861BAB97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5897876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561FD8B-FA58-9E41-9B91-0C5ECEF58B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7EC36E47-B507-FE4D-B008-89AFD07745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DAEDA6A0-0EAC-A94D-9239-D1C20CEBD0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02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CBE3752-6A61-744D-89AD-300CC9E0E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D63F82D-4851-AB47-AA58-476C216C23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2178334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879AB5B7-CC19-0B4F-8ED5-42275FED513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164B2E6F-8606-5E45-B705-60F15020CC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FBBB380-9A3A-6545-8BC9-7E3A5D8793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02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2807945-50E5-364B-B341-0E625DE69E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AADE9B0-464F-E845-B747-2AB3C6373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8123471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18A0447-92A1-7745-AA13-90DCB91BD3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3171C308-B2C8-4F48-8738-BACAE813DD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3902490-5800-2543-8D71-41543E9A46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02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8DE668A-A200-1746-BA2A-92CC4F6553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CF60453-5058-7748-8E67-56BEE01957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4448056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9391BC3-1EE6-0A47-838E-A8FE9246A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8950A8A8-5BC2-8241-818B-29078FACD4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16B66EC-E5E0-2C46-BA19-FF15B2F65F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02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EF996F9-B7EB-054B-9DD8-73DD852A3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3E0C81A-2F0D-5849-99B5-4FC8A72E5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4146092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B440E68-142E-9C41-97CF-F377F967B2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7230E3B-E7FE-F345-BB3A-FD0FA5EA8C3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A12033D2-7D1A-9B46-8029-C6ECC05CB5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A477F32-181E-3D42-B356-97E781CEF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02</a:t>
            </a:fld>
            <a:endParaRPr kumimoji="1"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28886E6-A080-E048-8848-A5B96F29AE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E5C0A24-B1C4-C245-B206-CB812AB006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7664773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4923B1B-D09D-2042-A921-A1783B815A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E01E8E89-7EE2-8746-AB47-ABF54DB050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F20C897-97C9-A640-841C-1D93E1F369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F14E91C6-0B17-354F-8E61-1A889821F34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5DD25E8A-F38D-604F-9281-69754C36AF8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A49402FF-4A7A-BD48-A7FE-1AFDC6400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02</a:t>
            </a:fld>
            <a:endParaRPr kumimoji="1"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7AE99608-8DE7-504F-8743-23FAA4EC2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56285200-9462-4A44-A7B8-2943A90E27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6071081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EB1CBBA-20F7-F745-B984-D96684E17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3EB6B4CA-DDDE-A948-AAEA-7DA0BB4F7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02</a:t>
            </a:fld>
            <a:endParaRPr kumimoji="1"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BD69D53E-27B2-8144-9B00-8B6BE0C6C2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2FA569BB-16BC-ED40-B8CC-7A0CBD13A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2985559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0FF8E6C8-BE04-784A-A6E5-AFCDF33E1C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02</a:t>
            </a:fld>
            <a:endParaRPr kumimoji="1"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DD8FDBAC-A2A4-0D4F-99C8-717C1A007A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756769F-6405-DD4C-8594-501A14E52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3180672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2E99741-891A-D24D-A2E9-59FF3E270A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3F7EF378-5FD3-864A-8CD7-DF45ED8E6F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EF455E06-130D-1947-8A96-C4316FF548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5386CD6-E332-8042-9D32-8904E14080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02</a:t>
            </a:fld>
            <a:endParaRPr kumimoji="1"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5947DD91-F1D7-8A41-8DCA-4AF54CDA50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AED9696E-098E-1C42-9505-B07EDA0F3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5806459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3F0805C-F427-7C4C-B29F-52B73823DD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8E87F928-E6C4-7941-847D-63FF17C115F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D44BF0BC-23C5-7641-95D2-7EE205A3F4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4C4EA68-9298-2445-AF53-B54CDD9F05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C5A27-84AE-1744-A870-80747435CB69}" type="datetimeFigureOut">
              <a:rPr kumimoji="1" lang="ko-KR" altLang="en-US" smtClean="0"/>
              <a:t>2025-02-02</a:t>
            </a:fld>
            <a:endParaRPr kumimoji="1"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F80BE0D3-5C77-0F4E-AF76-F11730F672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905465B3-CEA2-454B-8069-382F3B8EE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3835870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2CF8B7A4-597F-E944-98A9-2285C5FDA9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51EB33C8-F448-3143-BB6E-8572068D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167CEBA-F4C4-BF41-BD1D-62B4066837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5C5A27-84AE-1744-A870-80747435CB69}" type="datetimeFigureOut">
              <a:rPr kumimoji="1" lang="ko-KR" altLang="en-US" smtClean="0"/>
              <a:t>2025-02-02</a:t>
            </a:fld>
            <a:endParaRPr kumimoji="1"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413B8B3-BF6C-BF45-93FA-11BFF69C45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D30A3ED-B8CA-4F41-B5DC-E98DCFED54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D9B5FB-70C1-B04B-9CC1-6462F475A0DD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7655271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0.png"/><Relationship Id="rId5" Type="http://schemas.openxmlformats.org/officeDocument/2006/relationships/image" Target="../media/image3.png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1.png"/><Relationship Id="rId5" Type="http://schemas.openxmlformats.org/officeDocument/2006/relationships/image" Target="../media/image3.png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3.png"/><Relationship Id="rId5" Type="http://schemas.openxmlformats.org/officeDocument/2006/relationships/image" Target="../media/image3.png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4.png"/><Relationship Id="rId5" Type="http://schemas.openxmlformats.org/officeDocument/2006/relationships/image" Target="../media/image3.png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5.png"/><Relationship Id="rId7" Type="http://schemas.openxmlformats.org/officeDocument/2006/relationships/image" Target="../media/image13.sv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image" Target="../media/image3.png"/><Relationship Id="rId4" Type="http://schemas.openxmlformats.org/officeDocument/2006/relationships/image" Target="../media/image6.png"/><Relationship Id="rId9" Type="http://schemas.openxmlformats.org/officeDocument/2006/relationships/image" Target="../media/image15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15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3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3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5.png"/><Relationship Id="rId7" Type="http://schemas.openxmlformats.org/officeDocument/2006/relationships/image" Target="../media/image13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image" Target="../media/image3.png"/><Relationship Id="rId10" Type="http://schemas.openxmlformats.org/officeDocument/2006/relationships/image" Target="../media/image16.png"/><Relationship Id="rId4" Type="http://schemas.openxmlformats.org/officeDocument/2006/relationships/image" Target="../media/image6.png"/><Relationship Id="rId9" Type="http://schemas.openxmlformats.org/officeDocument/2006/relationships/image" Target="../media/image15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13" Type="http://schemas.openxmlformats.org/officeDocument/2006/relationships/image" Target="../media/image2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23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svg"/><Relationship Id="rId11" Type="http://schemas.openxmlformats.org/officeDocument/2006/relationships/image" Target="../media/image18.png"/><Relationship Id="rId5" Type="http://schemas.openxmlformats.org/officeDocument/2006/relationships/image" Target="../media/image7.png"/><Relationship Id="rId15" Type="http://schemas.openxmlformats.org/officeDocument/2006/relationships/image" Target="../media/image22.jpg"/><Relationship Id="rId10" Type="http://schemas.openxmlformats.org/officeDocument/2006/relationships/image" Target="../media/image17.png"/><Relationship Id="rId4" Type="http://schemas.openxmlformats.org/officeDocument/2006/relationships/image" Target="../media/image6.png"/><Relationship Id="rId9" Type="http://schemas.openxmlformats.org/officeDocument/2006/relationships/image" Target="../media/image3.png"/><Relationship Id="rId14" Type="http://schemas.openxmlformats.org/officeDocument/2006/relationships/image" Target="../media/image21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5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.png"/><Relationship Id="rId5" Type="http://schemas.openxmlformats.org/officeDocument/2006/relationships/image" Target="../media/image3.png"/><Relationship Id="rId10" Type="http://schemas.openxmlformats.org/officeDocument/2006/relationships/image" Target="../media/image29.png"/><Relationship Id="rId4" Type="http://schemas.openxmlformats.org/officeDocument/2006/relationships/image" Target="../media/image6.png"/><Relationship Id="rId9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5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직사각형 3">
            <a:extLst>
              <a:ext uri="{FF2B5EF4-FFF2-40B4-BE49-F238E27FC236}">
                <a16:creationId xmlns:a16="http://schemas.microsoft.com/office/drawing/2014/main" id="{AA348D11-4335-4BFC-AAFD-A5760534274D}"/>
              </a:ext>
            </a:extLst>
          </p:cNvPr>
          <p:cNvSpPr/>
          <p:nvPr/>
        </p:nvSpPr>
        <p:spPr>
          <a:xfrm>
            <a:off x="697230" y="423143"/>
            <a:ext cx="11262360" cy="6141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9" name="그림 18">
            <a:extLst>
              <a:ext uri="{FF2B5EF4-FFF2-40B4-BE49-F238E27FC236}">
                <a16:creationId xmlns:a16="http://schemas.microsoft.com/office/drawing/2014/main" id="{8536A257-573E-4D42-8F1F-E732F2037C3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6104" b="39548"/>
          <a:stretch/>
        </p:blipFill>
        <p:spPr>
          <a:xfrm>
            <a:off x="1" y="5352"/>
            <a:ext cx="12191999" cy="3727048"/>
          </a:xfrm>
          <a:custGeom>
            <a:avLst/>
            <a:gdLst>
              <a:gd name="connsiteX0" fmla="*/ 0 w 12191999"/>
              <a:gd name="connsiteY0" fmla="*/ 0 h 3727048"/>
              <a:gd name="connsiteX1" fmla="*/ 12191999 w 12191999"/>
              <a:gd name="connsiteY1" fmla="*/ 0 h 3727048"/>
              <a:gd name="connsiteX2" fmla="*/ 12191999 w 12191999"/>
              <a:gd name="connsiteY2" fmla="*/ 3727048 h 3727048"/>
              <a:gd name="connsiteX3" fmla="*/ 6006470 w 12191999"/>
              <a:gd name="connsiteY3" fmla="*/ 3727048 h 3727048"/>
              <a:gd name="connsiteX4" fmla="*/ 3296918 w 12191999"/>
              <a:gd name="connsiteY4" fmla="*/ 2486026 h 3727048"/>
              <a:gd name="connsiteX5" fmla="*/ 587367 w 12191999"/>
              <a:gd name="connsiteY5" fmla="*/ 3727048 h 3727048"/>
              <a:gd name="connsiteX6" fmla="*/ 0 w 12191999"/>
              <a:gd name="connsiteY6" fmla="*/ 3727048 h 3727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27048">
                <a:moveTo>
                  <a:pt x="0" y="0"/>
                </a:moveTo>
                <a:lnTo>
                  <a:pt x="12191999" y="0"/>
                </a:lnTo>
                <a:lnTo>
                  <a:pt x="12191999" y="3727048"/>
                </a:lnTo>
                <a:lnTo>
                  <a:pt x="6006470" y="3727048"/>
                </a:lnTo>
                <a:lnTo>
                  <a:pt x="3296918" y="2486026"/>
                </a:lnTo>
                <a:lnTo>
                  <a:pt x="587367" y="3727048"/>
                </a:lnTo>
                <a:lnTo>
                  <a:pt x="0" y="3727048"/>
                </a:lnTo>
                <a:close/>
              </a:path>
            </a:pathLst>
          </a:custGeom>
          <a:solidFill>
            <a:srgbClr val="056AA4">
              <a:alpha val="76000"/>
            </a:srgbClr>
          </a:solidFill>
        </p:spPr>
      </p:pic>
      <p:sp>
        <p:nvSpPr>
          <p:cNvPr id="13" name="평행 사변형 12">
            <a:extLst>
              <a:ext uri="{FF2B5EF4-FFF2-40B4-BE49-F238E27FC236}">
                <a16:creationId xmlns:a16="http://schemas.microsoft.com/office/drawing/2014/main" id="{CA1EBD39-6C4C-4828-8916-96442473B53E}"/>
              </a:ext>
            </a:extLst>
          </p:cNvPr>
          <p:cNvSpPr/>
          <p:nvPr/>
        </p:nvSpPr>
        <p:spPr>
          <a:xfrm rot="7616888" flipV="1">
            <a:off x="4352666" y="921529"/>
            <a:ext cx="2076970" cy="4306279"/>
          </a:xfrm>
          <a:custGeom>
            <a:avLst/>
            <a:gdLst>
              <a:gd name="connsiteX0" fmla="*/ 0 w 1676400"/>
              <a:gd name="connsiteY0" fmla="*/ 3368040 h 3368040"/>
              <a:gd name="connsiteX1" fmla="*/ 702462 w 1676400"/>
              <a:gd name="connsiteY1" fmla="*/ 0 h 3368040"/>
              <a:gd name="connsiteX2" fmla="*/ 1676400 w 1676400"/>
              <a:gd name="connsiteY2" fmla="*/ 0 h 3368040"/>
              <a:gd name="connsiteX3" fmla="*/ 973938 w 1676400"/>
              <a:gd name="connsiteY3" fmla="*/ 3368040 h 3368040"/>
              <a:gd name="connsiteX4" fmla="*/ 0 w 1676400"/>
              <a:gd name="connsiteY4" fmla="*/ 3368040 h 3368040"/>
              <a:gd name="connsiteX0" fmla="*/ 0 w 1728865"/>
              <a:gd name="connsiteY0" fmla="*/ 3843457 h 3843457"/>
              <a:gd name="connsiteX1" fmla="*/ 702462 w 1728865"/>
              <a:gd name="connsiteY1" fmla="*/ 475417 h 3843457"/>
              <a:gd name="connsiteX2" fmla="*/ 1728865 w 1728865"/>
              <a:gd name="connsiteY2" fmla="*/ 0 h 3843457"/>
              <a:gd name="connsiteX3" fmla="*/ 973938 w 1728865"/>
              <a:gd name="connsiteY3" fmla="*/ 3843457 h 3843457"/>
              <a:gd name="connsiteX4" fmla="*/ 0 w 1728865"/>
              <a:gd name="connsiteY4" fmla="*/ 3843457 h 3843457"/>
              <a:gd name="connsiteX0" fmla="*/ 0 w 1946118"/>
              <a:gd name="connsiteY0" fmla="*/ 4461905 h 4461905"/>
              <a:gd name="connsiteX1" fmla="*/ 919715 w 1946118"/>
              <a:gd name="connsiteY1" fmla="*/ 475417 h 4461905"/>
              <a:gd name="connsiteX2" fmla="*/ 1946118 w 1946118"/>
              <a:gd name="connsiteY2" fmla="*/ 0 h 4461905"/>
              <a:gd name="connsiteX3" fmla="*/ 1191191 w 1946118"/>
              <a:gd name="connsiteY3" fmla="*/ 3843457 h 4461905"/>
              <a:gd name="connsiteX4" fmla="*/ 0 w 1946118"/>
              <a:gd name="connsiteY4" fmla="*/ 4461905 h 4461905"/>
              <a:gd name="connsiteX0" fmla="*/ 0 w 1946118"/>
              <a:gd name="connsiteY0" fmla="*/ 4461905 h 4461905"/>
              <a:gd name="connsiteX1" fmla="*/ 919715 w 1946118"/>
              <a:gd name="connsiteY1" fmla="*/ 475417 h 4461905"/>
              <a:gd name="connsiteX2" fmla="*/ 1946118 w 1946118"/>
              <a:gd name="connsiteY2" fmla="*/ 0 h 4461905"/>
              <a:gd name="connsiteX3" fmla="*/ 1045037 w 1946118"/>
              <a:gd name="connsiteY3" fmla="*/ 3733529 h 4461905"/>
              <a:gd name="connsiteX4" fmla="*/ 0 w 1946118"/>
              <a:gd name="connsiteY4" fmla="*/ 4461905 h 4461905"/>
              <a:gd name="connsiteX0" fmla="*/ 0 w 1671715"/>
              <a:gd name="connsiteY0" fmla="*/ 4401320 h 4401320"/>
              <a:gd name="connsiteX1" fmla="*/ 919715 w 1671715"/>
              <a:gd name="connsiteY1" fmla="*/ 414832 h 4401320"/>
              <a:gd name="connsiteX2" fmla="*/ 1671715 w 1671715"/>
              <a:gd name="connsiteY2" fmla="*/ 0 h 4401320"/>
              <a:gd name="connsiteX3" fmla="*/ 1045037 w 1671715"/>
              <a:gd name="connsiteY3" fmla="*/ 3672944 h 4401320"/>
              <a:gd name="connsiteX4" fmla="*/ 0 w 1671715"/>
              <a:gd name="connsiteY4" fmla="*/ 4401320 h 4401320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1450292 w 2076970"/>
              <a:gd name="connsiteY3" fmla="*/ 3672944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980810 w 2076970"/>
              <a:gd name="connsiteY3" fmla="*/ 3739359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1166937 w 2076970"/>
              <a:gd name="connsiteY3" fmla="*/ 3593309 h 4306279"/>
              <a:gd name="connsiteX4" fmla="*/ 0 w 2076970"/>
              <a:gd name="connsiteY4" fmla="*/ 4306279 h 4306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76970" h="4306279">
                <a:moveTo>
                  <a:pt x="0" y="4306279"/>
                </a:moveTo>
                <a:lnTo>
                  <a:pt x="1324970" y="414832"/>
                </a:lnTo>
                <a:lnTo>
                  <a:pt x="2076970" y="0"/>
                </a:lnTo>
                <a:lnTo>
                  <a:pt x="1166937" y="3593309"/>
                </a:lnTo>
                <a:lnTo>
                  <a:pt x="0" y="4306279"/>
                </a:lnTo>
                <a:close/>
              </a:path>
            </a:pathLst>
          </a:custGeom>
          <a:solidFill>
            <a:srgbClr val="1D2D61"/>
          </a:solidFill>
          <a:ln>
            <a:solidFill>
              <a:srgbClr val="1D2D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각 삼각형 10">
            <a:extLst>
              <a:ext uri="{FF2B5EF4-FFF2-40B4-BE49-F238E27FC236}">
                <a16:creationId xmlns:a16="http://schemas.microsoft.com/office/drawing/2014/main" id="{C26AA14B-2FE4-4F17-9BAC-C48BC50F4AC3}"/>
              </a:ext>
            </a:extLst>
          </p:cNvPr>
          <p:cNvSpPr/>
          <p:nvPr/>
        </p:nvSpPr>
        <p:spPr>
          <a:xfrm rot="5400000">
            <a:off x="883920" y="1363980"/>
            <a:ext cx="2057400" cy="3825240"/>
          </a:xfrm>
          <a:custGeom>
            <a:avLst/>
            <a:gdLst>
              <a:gd name="connsiteX0" fmla="*/ 0 w 1097280"/>
              <a:gd name="connsiteY0" fmla="*/ 3688080 h 3688080"/>
              <a:gd name="connsiteX1" fmla="*/ 0 w 1097280"/>
              <a:gd name="connsiteY1" fmla="*/ 0 h 3688080"/>
              <a:gd name="connsiteX2" fmla="*/ 1097280 w 1097280"/>
              <a:gd name="connsiteY2" fmla="*/ 3688080 h 3688080"/>
              <a:gd name="connsiteX3" fmla="*/ 0 w 1097280"/>
              <a:gd name="connsiteY3" fmla="*/ 3688080 h 3688080"/>
              <a:gd name="connsiteX0" fmla="*/ 960120 w 2057400"/>
              <a:gd name="connsiteY0" fmla="*/ 3825240 h 3825240"/>
              <a:gd name="connsiteX1" fmla="*/ 0 w 2057400"/>
              <a:gd name="connsiteY1" fmla="*/ 0 h 3825240"/>
              <a:gd name="connsiteX2" fmla="*/ 2057400 w 2057400"/>
              <a:gd name="connsiteY2" fmla="*/ 3825240 h 3825240"/>
              <a:gd name="connsiteX3" fmla="*/ 960120 w 2057400"/>
              <a:gd name="connsiteY3" fmla="*/ 3825240 h 3825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57400" h="3825240">
                <a:moveTo>
                  <a:pt x="960120" y="3825240"/>
                </a:moveTo>
                <a:lnTo>
                  <a:pt x="0" y="0"/>
                </a:lnTo>
                <a:lnTo>
                  <a:pt x="2057400" y="3825240"/>
                </a:lnTo>
                <a:lnTo>
                  <a:pt x="960120" y="3825240"/>
                </a:lnTo>
                <a:close/>
              </a:path>
            </a:pathLst>
          </a:custGeom>
          <a:solidFill>
            <a:srgbClr val="304B8F"/>
          </a:solidFill>
          <a:ln>
            <a:solidFill>
              <a:srgbClr val="304B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자유형: 도형 33">
            <a:extLst>
              <a:ext uri="{FF2B5EF4-FFF2-40B4-BE49-F238E27FC236}">
                <a16:creationId xmlns:a16="http://schemas.microsoft.com/office/drawing/2014/main" id="{E51DD70F-DE42-422C-A7E1-581FAE35F361}"/>
              </a:ext>
            </a:extLst>
          </p:cNvPr>
          <p:cNvSpPr/>
          <p:nvPr/>
        </p:nvSpPr>
        <p:spPr>
          <a:xfrm rot="3218114">
            <a:off x="8141046" y="588138"/>
            <a:ext cx="3201175" cy="5926063"/>
          </a:xfrm>
          <a:custGeom>
            <a:avLst/>
            <a:gdLst>
              <a:gd name="connsiteX0" fmla="*/ 1709134 w 3201175"/>
              <a:gd name="connsiteY0" fmla="*/ 0 h 5926063"/>
              <a:gd name="connsiteX1" fmla="*/ 3201175 w 3201175"/>
              <a:gd name="connsiteY1" fmla="*/ 1098611 h 5926063"/>
              <a:gd name="connsiteX2" fmla="*/ 1596321 w 3201175"/>
              <a:gd name="connsiteY2" fmla="*/ 4979027 h 5926063"/>
              <a:gd name="connsiteX3" fmla="*/ 0 w 3201175"/>
              <a:gd name="connsiteY3" fmla="*/ 5926063 h 5926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1175" h="5926063">
                <a:moveTo>
                  <a:pt x="1709134" y="0"/>
                </a:moveTo>
                <a:lnTo>
                  <a:pt x="3201175" y="1098611"/>
                </a:lnTo>
                <a:lnTo>
                  <a:pt x="1596321" y="4979027"/>
                </a:lnTo>
                <a:lnTo>
                  <a:pt x="0" y="5926063"/>
                </a:lnTo>
                <a:close/>
              </a:path>
            </a:pathLst>
          </a:custGeom>
          <a:solidFill>
            <a:srgbClr val="365597"/>
          </a:solidFill>
          <a:ln>
            <a:solidFill>
              <a:srgbClr val="36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ko-KR" altLang="en-US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65E7A525-CB26-4BB9-B788-94D77C611E1B}"/>
              </a:ext>
            </a:extLst>
          </p:cNvPr>
          <p:cNvSpPr/>
          <p:nvPr/>
        </p:nvSpPr>
        <p:spPr>
          <a:xfrm>
            <a:off x="0" y="0"/>
            <a:ext cx="464820" cy="392992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B455D1F6-AC98-42A7-A49F-B9B8979EFB9C}"/>
              </a:ext>
            </a:extLst>
          </p:cNvPr>
          <p:cNvSpPr/>
          <p:nvPr/>
        </p:nvSpPr>
        <p:spPr>
          <a:xfrm rot="5400000">
            <a:off x="5905500" y="-5440680"/>
            <a:ext cx="381000" cy="1126236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FAA32E76-D9AF-457D-A849-4CE6AA3C8A41}"/>
              </a:ext>
            </a:extLst>
          </p:cNvPr>
          <p:cNvSpPr/>
          <p:nvPr/>
        </p:nvSpPr>
        <p:spPr>
          <a:xfrm>
            <a:off x="11727180" y="0"/>
            <a:ext cx="464820" cy="3727048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54EBCAD0-28BF-4F41-9FF9-24637DB83F93}"/>
              </a:ext>
            </a:extLst>
          </p:cNvPr>
          <p:cNvSpPr/>
          <p:nvPr/>
        </p:nvSpPr>
        <p:spPr>
          <a:xfrm>
            <a:off x="11727180" y="3727048"/>
            <a:ext cx="464820" cy="124430"/>
          </a:xfrm>
          <a:custGeom>
            <a:avLst/>
            <a:gdLst>
              <a:gd name="connsiteX0" fmla="*/ 0 w 464820"/>
              <a:gd name="connsiteY0" fmla="*/ 0 h 124430"/>
              <a:gd name="connsiteX1" fmla="*/ 464820 w 464820"/>
              <a:gd name="connsiteY1" fmla="*/ 0 h 124430"/>
              <a:gd name="connsiteX2" fmla="*/ 464820 w 464820"/>
              <a:gd name="connsiteY2" fmla="*/ 124430 h 124430"/>
              <a:gd name="connsiteX3" fmla="*/ 0 w 464820"/>
              <a:gd name="connsiteY3" fmla="*/ 124430 h 124430"/>
              <a:gd name="connsiteX4" fmla="*/ 0 w 464820"/>
              <a:gd name="connsiteY4" fmla="*/ 0 h 124430"/>
              <a:gd name="connsiteX0" fmla="*/ 0 w 464820"/>
              <a:gd name="connsiteY0" fmla="*/ 0 h 124430"/>
              <a:gd name="connsiteX1" fmla="*/ 464820 w 464820"/>
              <a:gd name="connsiteY1" fmla="*/ 0 h 124430"/>
              <a:gd name="connsiteX2" fmla="*/ 457200 w 464820"/>
              <a:gd name="connsiteY2" fmla="*/ 17750 h 124430"/>
              <a:gd name="connsiteX3" fmla="*/ 0 w 464820"/>
              <a:gd name="connsiteY3" fmla="*/ 124430 h 124430"/>
              <a:gd name="connsiteX4" fmla="*/ 0 w 464820"/>
              <a:gd name="connsiteY4" fmla="*/ 0 h 124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" h="124430">
                <a:moveTo>
                  <a:pt x="0" y="0"/>
                </a:moveTo>
                <a:lnTo>
                  <a:pt x="464820" y="0"/>
                </a:lnTo>
                <a:lnTo>
                  <a:pt x="457200" y="17750"/>
                </a:lnTo>
                <a:lnTo>
                  <a:pt x="0" y="12443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F6408E02-E0E7-4925-BF36-8FE41C7F05B0}"/>
              </a:ext>
            </a:extLst>
          </p:cNvPr>
          <p:cNvSpPr/>
          <p:nvPr/>
        </p:nvSpPr>
        <p:spPr>
          <a:xfrm>
            <a:off x="0" y="3929920"/>
            <a:ext cx="464820" cy="399681"/>
          </a:xfrm>
          <a:custGeom>
            <a:avLst/>
            <a:gdLst>
              <a:gd name="connsiteX0" fmla="*/ 0 w 464820"/>
              <a:gd name="connsiteY0" fmla="*/ 0 h 399681"/>
              <a:gd name="connsiteX1" fmla="*/ 464820 w 464820"/>
              <a:gd name="connsiteY1" fmla="*/ 0 h 399681"/>
              <a:gd name="connsiteX2" fmla="*/ 464820 w 464820"/>
              <a:gd name="connsiteY2" fmla="*/ 399681 h 399681"/>
              <a:gd name="connsiteX3" fmla="*/ 0 w 464820"/>
              <a:gd name="connsiteY3" fmla="*/ 399681 h 399681"/>
              <a:gd name="connsiteX4" fmla="*/ 0 w 464820"/>
              <a:gd name="connsiteY4" fmla="*/ 0 h 399681"/>
              <a:gd name="connsiteX0" fmla="*/ 0 w 464820"/>
              <a:gd name="connsiteY0" fmla="*/ 0 h 399681"/>
              <a:gd name="connsiteX1" fmla="*/ 464820 w 464820"/>
              <a:gd name="connsiteY1" fmla="*/ 0 h 399681"/>
              <a:gd name="connsiteX2" fmla="*/ 455295 w 464820"/>
              <a:gd name="connsiteY2" fmla="*/ 140601 h 399681"/>
              <a:gd name="connsiteX3" fmla="*/ 0 w 464820"/>
              <a:gd name="connsiteY3" fmla="*/ 399681 h 399681"/>
              <a:gd name="connsiteX4" fmla="*/ 0 w 464820"/>
              <a:gd name="connsiteY4" fmla="*/ 0 h 399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" h="399681">
                <a:moveTo>
                  <a:pt x="0" y="0"/>
                </a:moveTo>
                <a:lnTo>
                  <a:pt x="464820" y="0"/>
                </a:lnTo>
                <a:lnTo>
                  <a:pt x="455295" y="140601"/>
                </a:lnTo>
                <a:lnTo>
                  <a:pt x="0" y="39968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04B4949-8EC5-4D6B-AAFD-3D2BB466BE40}"/>
              </a:ext>
            </a:extLst>
          </p:cNvPr>
          <p:cNvSpPr txBox="1"/>
          <p:nvPr/>
        </p:nvSpPr>
        <p:spPr>
          <a:xfrm>
            <a:off x="1017227" y="4602540"/>
            <a:ext cx="1015754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800" dirty="0">
                <a:solidFill>
                  <a:srgbClr val="1D2D6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사전학습</a:t>
            </a:r>
            <a:r>
              <a:rPr lang="en-US" altLang="ko-KR" sz="4800" dirty="0">
                <a:solidFill>
                  <a:srgbClr val="1D2D6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pre-training)</a:t>
            </a:r>
            <a:r>
              <a:rPr lang="ko-KR" altLang="en-US" sz="4800" dirty="0">
                <a:solidFill>
                  <a:srgbClr val="1D2D6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과 </a:t>
            </a:r>
            <a:endParaRPr lang="en-US" altLang="ko-KR" sz="4800" dirty="0">
              <a:solidFill>
                <a:srgbClr val="1D2D6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r>
              <a:rPr lang="en-US" altLang="ko-KR" sz="4800" dirty="0">
                <a:solidFill>
                  <a:srgbClr val="1D2D6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zero-shot learning</a:t>
            </a:r>
            <a:endParaRPr lang="ko-KR" altLang="en-US" sz="4800" dirty="0">
              <a:solidFill>
                <a:srgbClr val="1D2D6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6A88A032-AB2E-4B44-861E-4A82DC9B871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87951" y="5752602"/>
            <a:ext cx="2015489" cy="718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3771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B33880-D15C-CBD2-A2A2-07CFC7A02F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81086F3D-4050-536C-4F7E-79D5FA1FDE77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4C43C983-557D-E31A-54DB-DFE327F87FA5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6F79175B-DB59-9021-77C3-CD71124CD689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A757FD37-8F37-3687-61C2-568A4CA62B30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05E9543D-995A-D467-18B6-B099BC49EFFC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B01373DC-8B30-3083-BD67-A54D1D02BFBC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DF6FB43D-001D-D3B6-F395-29895A7B6DDF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FA6697AF-A42A-F90F-4EA5-CF7BDD71E485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353934B7-7257-5B93-8761-EFF52C5491D7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071CB1F4-938E-0BA3-4957-AAA46D5E4866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86AD6A36-121D-8E01-C366-37E490A16A07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F86F323B-6AF4-23F5-8B0B-B352DCFB257F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CF82E62A-4DFC-7331-577C-575DBBF703AF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D6867C6C-B519-3832-6772-76D14F68B898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D4EA3B6C-847E-882D-06E2-F9F08884C3A5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4578BDAF-AA6A-D59C-5525-B6B73B9D0711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9D966E9B-E7B1-F2E3-220A-26935CB5744F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FCEF3E7B-6872-950D-DBAE-D7007F894CB6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B611003C-FAD8-73A1-FE9F-6B0317DC6FCC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19DE5063-E38F-552E-0336-5C2FDF7D5D22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A238AD3D-B76A-B465-C80F-CE82EBC0DCFE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9F7D6DDF-5CA4-603D-4EF7-377147B922B1}"/>
              </a:ext>
            </a:extLst>
          </p:cNvPr>
          <p:cNvSpPr/>
          <p:nvPr/>
        </p:nvSpPr>
        <p:spPr>
          <a:xfrm>
            <a:off x="945747" y="46331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9A3BBA0A-BEF1-4F4D-2A0F-A2D4AD9D895F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F09BDBCE-F93B-B159-2C6C-736F01A60AA7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64932BF3-8A83-7B27-0E7A-227D237411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DEDF177A-BA63-8366-46DC-417E41204E0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65D028A0-18BD-7A28-CA19-C617ADDFF140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D8D685CD-448B-C60D-CC3E-40DDC690445E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54230ACC-4C54-7931-416C-AA19D300C31C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D058B39-07C4-91FE-0D53-643D5C75D8E9}"/>
              </a:ext>
            </a:extLst>
          </p:cNvPr>
          <p:cNvSpPr txBox="1"/>
          <p:nvPr/>
        </p:nvSpPr>
        <p:spPr>
          <a:xfrm>
            <a:off x="980876" y="380426"/>
            <a:ext cx="601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2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3C9A01F2-B1C1-B403-E440-75D45E0821E0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BCE3CF9B-E698-1461-0089-AFA407476DD7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98">
            <a:extLst>
              <a:ext uri="{FF2B5EF4-FFF2-40B4-BE49-F238E27FC236}">
                <a16:creationId xmlns:a16="http://schemas.microsoft.com/office/drawing/2014/main" id="{C26596F0-DB43-5CC3-A0B5-E02DD7EAF81B}"/>
              </a:ext>
            </a:extLst>
          </p:cNvPr>
          <p:cNvSpPr txBox="1"/>
          <p:nvPr/>
        </p:nvSpPr>
        <p:spPr>
          <a:xfrm>
            <a:off x="1092504" y="1496773"/>
            <a:ext cx="76037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Zero-shot learning</a:t>
            </a:r>
            <a:r>
              <a:rPr kumimoji="1" lang="ko-KR" altLang="en-US" sz="12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이란</a:t>
            </a: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3F62FEC3-ADED-0871-3A6E-CA7F5536B8C4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4A689C3E-8B86-E9E6-95A2-4F653D07D5AF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1EA05931-DEC5-5267-0ABE-AE29520B3A11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D6E660A3-D382-812C-6040-345AD4922A10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F2A3B033-8CDE-1E42-9F0E-FACA08AF7A6F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F4899EBF-C64F-C477-386B-1F6C40B291D3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EF8A1C5B-CC8C-08D4-3E74-59B6329C7CDF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3DF161A9-D486-C83D-FB3C-1C0A314A2B1B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EEB5966C-EAD3-F3B8-D70D-5D3D95210DE9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671B15B9-5B2E-51EC-6C03-00D50F731E7F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67E4D986-1000-52EB-D05A-23DC1222B9C0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8B611025-C8E2-F2EF-BB1E-AFB4AF24175F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16554C33-06EA-7FB1-D44E-D669761BB214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EB0C6E14-84AE-3939-D32A-9B8E1F609F04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33835B6C-5F49-24DF-E4B4-63C534587AAC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904A7D63-C225-64B0-7556-F7FE435C2419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DDC6650A-2402-6D0F-E8CC-19743E9CA668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29842FB5-A573-18DE-ABC6-DC6CA74BA71A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802145F9-7B23-03C7-99A0-77387DA1311C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D91CB13F-A1BA-DA3E-B983-F8C00CFBDADA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476EE86C-1056-BD54-DCBF-7618C72467AA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7598D927-FA39-EB91-6B11-E16C4DE281B7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B216B5C5-B25A-1F39-7F6F-17296D1E45F9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04C9996A-D8AA-3B79-607A-D151C38C21EC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7DAFEE3A-8EE3-8688-BDF7-21976013A9A0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B2F62B2D-EB7F-8C92-892F-3F8C4EF8F050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A6F337FA-B1E4-A186-4267-2B73CADC4F66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1277D4E9-DBCD-9306-906F-BEE0B8109FFF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B07C5D4C-BCAC-99A5-7E1C-25A2C7BACA19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C156C8E4-A07B-22E1-4F1F-B77B1F9E13FE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059F4FFC-D2F5-D0B9-F90F-99D47C078E93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A1116B45-9D5F-7A9E-CDDB-0D8A586FC52E}"/>
              </a:ext>
            </a:extLst>
          </p:cNvPr>
          <p:cNvSpPr txBox="1"/>
          <p:nvPr/>
        </p:nvSpPr>
        <p:spPr>
          <a:xfrm>
            <a:off x="884159" y="128224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b="1" dirty="0">
                <a:solidFill>
                  <a:schemeClr val="accent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PPT </a:t>
            </a:r>
            <a:r>
              <a:rPr kumimoji="1" lang="ko-KR" altLang="en-US" sz="1050" b="1" dirty="0">
                <a:solidFill>
                  <a:schemeClr val="accent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템플릿 공모전</a:t>
            </a:r>
          </a:p>
        </p:txBody>
      </p: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7E0428CC-F068-3D92-19D5-39B52B128A81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3" name="바닥글 개체 틀 2">
            <a:extLst>
              <a:ext uri="{FF2B5EF4-FFF2-40B4-BE49-F238E27FC236}">
                <a16:creationId xmlns:a16="http://schemas.microsoft.com/office/drawing/2014/main" id="{CA5DDBCC-8CCF-3CD0-56D4-F10EAF85DA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54706" y="6492875"/>
            <a:ext cx="4526280" cy="365125"/>
          </a:xfrm>
        </p:spPr>
        <p:txBody>
          <a:bodyPr/>
          <a:lstStyle/>
          <a:p>
            <a:r>
              <a:rPr lang="en-US" altLang="ko-KR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- 6/8</a:t>
            </a:r>
            <a:r>
              <a:rPr lang="ko-KR" altLang="en-US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 </a:t>
            </a:r>
            <a:r>
              <a:rPr lang="en-US" altLang="ko-KR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-</a:t>
            </a:r>
            <a:endParaRPr lang="ko-KR" altLang="en-US" sz="1100" dirty="0">
              <a:latin typeface="Apple SD Gothic Neo" panose="02000300000000000000" pitchFamily="2" charset="-127"/>
              <a:ea typeface="Apple SD Gothic Neo" panose="02000300000000000000" pitchFamily="2" charset="-127"/>
            </a:endParaRPr>
          </a:p>
        </p:txBody>
      </p:sp>
      <p:pic>
        <p:nvPicPr>
          <p:cNvPr id="214" name="그림 213">
            <a:extLst>
              <a:ext uri="{FF2B5EF4-FFF2-40B4-BE49-F238E27FC236}">
                <a16:creationId xmlns:a16="http://schemas.microsoft.com/office/drawing/2014/main" id="{8B72FA01-099C-5877-DB57-E6038552CF4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sp>
        <p:nvSpPr>
          <p:cNvPr id="222" name="직사각형 221">
            <a:extLst>
              <a:ext uri="{FF2B5EF4-FFF2-40B4-BE49-F238E27FC236}">
                <a16:creationId xmlns:a16="http://schemas.microsoft.com/office/drawing/2014/main" id="{3A1BF956-AEF3-DDF7-4787-5973736C757B}"/>
              </a:ext>
            </a:extLst>
          </p:cNvPr>
          <p:cNvSpPr/>
          <p:nvPr/>
        </p:nvSpPr>
        <p:spPr>
          <a:xfrm>
            <a:off x="9754810" y="3111273"/>
            <a:ext cx="1415772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성장목표</a:t>
            </a: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에 기반한 </a:t>
            </a:r>
            <a:br>
              <a:rPr lang="en-US" altLang="ko-KR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</a:b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슬로건 제시</a:t>
            </a:r>
            <a:endParaRPr lang="ko-KR" altLang="en-US" sz="1200" dirty="0">
              <a:solidFill>
                <a:schemeClr val="bg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cxnSp>
        <p:nvCxnSpPr>
          <p:cNvPr id="263" name="직선 연결선[R] 116">
            <a:extLst>
              <a:ext uri="{FF2B5EF4-FFF2-40B4-BE49-F238E27FC236}">
                <a16:creationId xmlns:a16="http://schemas.microsoft.com/office/drawing/2014/main" id="{A9C99863-5B1F-219D-B252-D6FBB19E951E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직사각형 263">
            <a:extLst>
              <a:ext uri="{FF2B5EF4-FFF2-40B4-BE49-F238E27FC236}">
                <a16:creationId xmlns:a16="http://schemas.microsoft.com/office/drawing/2014/main" id="{82E2E814-EEEC-7C94-C038-999F67B29D75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265" name="직사각형 264">
            <a:extLst>
              <a:ext uri="{FF2B5EF4-FFF2-40B4-BE49-F238E27FC236}">
                <a16:creationId xmlns:a16="http://schemas.microsoft.com/office/drawing/2014/main" id="{76A2671C-3FF0-1874-4BC5-24ED1FF4696C}"/>
              </a:ext>
            </a:extLst>
          </p:cNvPr>
          <p:cNvSpPr/>
          <p:nvPr/>
        </p:nvSpPr>
        <p:spPr>
          <a:xfrm>
            <a:off x="11692678" y="5025663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266" name="직사각형 265">
            <a:extLst>
              <a:ext uri="{FF2B5EF4-FFF2-40B4-BE49-F238E27FC236}">
                <a16:creationId xmlns:a16="http://schemas.microsoft.com/office/drawing/2014/main" id="{01EE5AB0-A202-BEE2-93D7-13D2A45E1D64}"/>
              </a:ext>
            </a:extLst>
          </p:cNvPr>
          <p:cNvSpPr/>
          <p:nvPr/>
        </p:nvSpPr>
        <p:spPr>
          <a:xfrm>
            <a:off x="11692678" y="2834264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cxnSp>
        <p:nvCxnSpPr>
          <p:cNvPr id="267" name="직선 연결선[R] 111">
            <a:extLst>
              <a:ext uri="{FF2B5EF4-FFF2-40B4-BE49-F238E27FC236}">
                <a16:creationId xmlns:a16="http://schemas.microsoft.com/office/drawing/2014/main" id="{DA9F41F0-A9B4-9084-5330-D68A8D55DB74}"/>
              </a:ext>
            </a:extLst>
          </p:cNvPr>
          <p:cNvCxnSpPr>
            <a:cxnSpLocks/>
          </p:cNvCxnSpPr>
          <p:nvPr/>
        </p:nvCxnSpPr>
        <p:spPr>
          <a:xfrm>
            <a:off x="11785494" y="2825264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직선 연결선[R] 112">
            <a:extLst>
              <a:ext uri="{FF2B5EF4-FFF2-40B4-BE49-F238E27FC236}">
                <a16:creationId xmlns:a16="http://schemas.microsoft.com/office/drawing/2014/main" id="{494B626D-54F8-A039-C990-F31DD8CBADF0}"/>
              </a:ext>
            </a:extLst>
          </p:cNvPr>
          <p:cNvCxnSpPr>
            <a:cxnSpLocks/>
          </p:cNvCxnSpPr>
          <p:nvPr/>
        </p:nvCxnSpPr>
        <p:spPr>
          <a:xfrm>
            <a:off x="11785494" y="5016664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9" name="직사각형 268">
            <a:extLst>
              <a:ext uri="{FF2B5EF4-FFF2-40B4-BE49-F238E27FC236}">
                <a16:creationId xmlns:a16="http://schemas.microsoft.com/office/drawing/2014/main" id="{50E0577C-356B-BB75-2C22-95CAD5D4B5FD}"/>
              </a:ext>
            </a:extLst>
          </p:cNvPr>
          <p:cNvSpPr/>
          <p:nvPr/>
        </p:nvSpPr>
        <p:spPr>
          <a:xfrm>
            <a:off x="11789546" y="3737999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70" name="직사각형 269">
            <a:extLst>
              <a:ext uri="{FF2B5EF4-FFF2-40B4-BE49-F238E27FC236}">
                <a16:creationId xmlns:a16="http://schemas.microsoft.com/office/drawing/2014/main" id="{B3FE66B8-6D60-4109-CE5A-9CDB7AA04827}"/>
              </a:ext>
            </a:extLst>
          </p:cNvPr>
          <p:cNvSpPr/>
          <p:nvPr/>
        </p:nvSpPr>
        <p:spPr>
          <a:xfrm>
            <a:off x="11692678" y="3780360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8EF9D929-69A1-D330-C93B-0A4F14A97718}"/>
              </a:ext>
            </a:extLst>
          </p:cNvPr>
          <p:cNvSpPr txBox="1"/>
          <p:nvPr/>
        </p:nvSpPr>
        <p:spPr>
          <a:xfrm>
            <a:off x="11829560" y="4005554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3</a:t>
            </a:r>
            <a:endParaRPr kumimoji="1" lang="ko-KR" altLang="en-US" sz="800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72" name="그룹 271">
            <a:extLst>
              <a:ext uri="{FF2B5EF4-FFF2-40B4-BE49-F238E27FC236}">
                <a16:creationId xmlns:a16="http://schemas.microsoft.com/office/drawing/2014/main" id="{FB4EE0DE-13A4-D4C7-D901-C66907C0D010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273" name="모서리가 둥근 직사각형 94">
              <a:extLst>
                <a:ext uri="{FF2B5EF4-FFF2-40B4-BE49-F238E27FC236}">
                  <a16:creationId xmlns:a16="http://schemas.microsoft.com/office/drawing/2014/main" id="{7BBA4EEB-EAD3-D5A3-D406-FC1DE7829A53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74" name="모서리가 둥근 직사각형 97">
              <a:extLst>
                <a:ext uri="{FF2B5EF4-FFF2-40B4-BE49-F238E27FC236}">
                  <a16:creationId xmlns:a16="http://schemas.microsoft.com/office/drawing/2014/main" id="{5C7CDE41-6250-3FA6-1B73-B045BF9D8159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75" name="모서리가 둥근 직사각형 108">
              <a:extLst>
                <a:ext uri="{FF2B5EF4-FFF2-40B4-BE49-F238E27FC236}">
                  <a16:creationId xmlns:a16="http://schemas.microsoft.com/office/drawing/2014/main" id="{DF5FA12F-A122-B5EB-889B-F5CB79AF9C0A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76" name="모서리가 둥근 직사각형 117">
              <a:extLst>
                <a:ext uri="{FF2B5EF4-FFF2-40B4-BE49-F238E27FC236}">
                  <a16:creationId xmlns:a16="http://schemas.microsoft.com/office/drawing/2014/main" id="{39C021AC-2581-C5EA-4FF7-26B07D3F8086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sp>
        <p:nvSpPr>
          <p:cNvPr id="277" name="TextBox 276">
            <a:extLst>
              <a:ext uri="{FF2B5EF4-FFF2-40B4-BE49-F238E27FC236}">
                <a16:creationId xmlns:a16="http://schemas.microsoft.com/office/drawing/2014/main" id="{58C557CE-2CD4-41F6-2ED2-45E1CB353B9F}"/>
              </a:ext>
            </a:extLst>
          </p:cNvPr>
          <p:cNvSpPr txBox="1"/>
          <p:nvPr/>
        </p:nvSpPr>
        <p:spPr>
          <a:xfrm>
            <a:off x="10844097" y="392753"/>
            <a:ext cx="98025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900" b="1" dirty="0" err="1">
                <a:solidFill>
                  <a:schemeClr val="accent1">
                    <a:lumMod val="50000"/>
                  </a:schemeClr>
                </a:solidFill>
                <a:latin typeface="APPLE SD GOTHICNEO EXTRABOLD" panose="02000300000000000000" pitchFamily="2" charset="-127"/>
                <a:ea typeface="APPLE SD GOTHICNEO EXTRABOLD" panose="02000300000000000000" pitchFamily="2" charset="-127"/>
              </a:rPr>
              <a:t>대목차</a:t>
            </a:r>
            <a:r>
              <a:rPr kumimoji="1" lang="en-US" altLang="ko-KR" sz="900" b="1" dirty="0">
                <a:solidFill>
                  <a:schemeClr val="accent1">
                    <a:lumMod val="50000"/>
                  </a:schemeClr>
                </a:solidFill>
                <a:latin typeface="APPLE SD GOTHICNEO EXTRABOLD" panose="02000300000000000000" pitchFamily="2" charset="-127"/>
                <a:ea typeface="APPLE SD GOTHICNEO EXTRABOLD" panose="02000300000000000000" pitchFamily="2" charset="-127"/>
              </a:rPr>
              <a:t>3</a:t>
            </a:r>
            <a:endParaRPr kumimoji="1" lang="ko-KR" altLang="en-US" sz="900" b="1" dirty="0">
              <a:solidFill>
                <a:schemeClr val="accent1">
                  <a:lumMod val="50000"/>
                </a:schemeClr>
              </a:solidFill>
              <a:latin typeface="APPLE SD GOTHICNEO EXTRABOLD" panose="02000300000000000000" pitchFamily="2" charset="-127"/>
              <a:ea typeface="APPLE SD GOTHICNEO EXTRABOLD" panose="02000300000000000000" pitchFamily="2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DE89F70A-6638-A9E8-B208-9A0A6B01B0C0}"/>
              </a:ext>
            </a:extLst>
          </p:cNvPr>
          <p:cNvSpPr/>
          <p:nvPr/>
        </p:nvSpPr>
        <p:spPr>
          <a:xfrm>
            <a:off x="884159" y="1815111"/>
            <a:ext cx="1027692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X:</a:t>
            </a:r>
            <a:r>
              <a:rPr kumimoji="1" lang="ko-KR" altLang="en-US" dirty="0">
                <a:solidFill>
                  <a:schemeClr val="tx1"/>
                </a:solidFill>
              </a:rPr>
              <a:t>이미지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y:</a:t>
            </a:r>
            <a:r>
              <a:rPr kumimoji="1" lang="ko-KR" altLang="en-US" dirty="0">
                <a:solidFill>
                  <a:schemeClr val="tx1"/>
                </a:solidFill>
              </a:rPr>
              <a:t>클래스의 레이블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dirty="0" err="1">
                <a:solidFill>
                  <a:schemeClr val="tx1"/>
                </a:solidFill>
              </a:rPr>
              <a:t>h_y:side_information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ko-KR" altLang="en-US" dirty="0">
              <a:solidFill>
                <a:schemeClr val="tx1"/>
              </a:solidFill>
            </a:endParaRPr>
          </a:p>
        </p:txBody>
      </p:sp>
      <p:grpSp>
        <p:nvGrpSpPr>
          <p:cNvPr id="10" name="그룹 9">
            <a:extLst>
              <a:ext uri="{FF2B5EF4-FFF2-40B4-BE49-F238E27FC236}">
                <a16:creationId xmlns:a16="http://schemas.microsoft.com/office/drawing/2014/main" id="{5712B303-ECCB-2AC5-350E-90BEC113D5A5}"/>
              </a:ext>
            </a:extLst>
          </p:cNvPr>
          <p:cNvGrpSpPr/>
          <p:nvPr/>
        </p:nvGrpSpPr>
        <p:grpSpPr>
          <a:xfrm>
            <a:off x="9730738" y="1521984"/>
            <a:ext cx="1537816" cy="91503"/>
            <a:chOff x="9813518" y="1638458"/>
            <a:chExt cx="1416568" cy="84289"/>
          </a:xfrm>
        </p:grpSpPr>
        <p:sp>
          <p:nvSpPr>
            <p:cNvPr id="13" name="오각형[P] 102">
              <a:extLst>
                <a:ext uri="{FF2B5EF4-FFF2-40B4-BE49-F238E27FC236}">
                  <a16:creationId xmlns:a16="http://schemas.microsoft.com/office/drawing/2014/main" id="{7540FFF7-BE22-9DC7-4E7F-C7BF43CBA3D9}"/>
                </a:ext>
              </a:extLst>
            </p:cNvPr>
            <p:cNvSpPr/>
            <p:nvPr/>
          </p:nvSpPr>
          <p:spPr>
            <a:xfrm>
              <a:off x="10168686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" name="오각형[P] 103">
              <a:extLst>
                <a:ext uri="{FF2B5EF4-FFF2-40B4-BE49-F238E27FC236}">
                  <a16:creationId xmlns:a16="http://schemas.microsoft.com/office/drawing/2014/main" id="{38C033E7-420C-172C-56FD-C257E0437859}"/>
                </a:ext>
              </a:extLst>
            </p:cNvPr>
            <p:cNvSpPr/>
            <p:nvPr/>
          </p:nvSpPr>
          <p:spPr>
            <a:xfrm>
              <a:off x="9813518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6" name="오각형[P] 104">
              <a:extLst>
                <a:ext uri="{FF2B5EF4-FFF2-40B4-BE49-F238E27FC236}">
                  <a16:creationId xmlns:a16="http://schemas.microsoft.com/office/drawing/2014/main" id="{E00E065E-61A2-0872-0F6D-3F482299FC7C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7" name="오각형[P] 105">
              <a:extLst>
                <a:ext uri="{FF2B5EF4-FFF2-40B4-BE49-F238E27FC236}">
                  <a16:creationId xmlns:a16="http://schemas.microsoft.com/office/drawing/2014/main" id="{008C2E4A-D23B-FEE7-5240-3EB167521FD5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E1E7A1D6-30B4-C08C-8984-A726DDA32ADB}"/>
              </a:ext>
            </a:extLst>
          </p:cNvPr>
          <p:cNvSpPr txBox="1"/>
          <p:nvPr/>
        </p:nvSpPr>
        <p:spPr>
          <a:xfrm>
            <a:off x="1606540" y="450119"/>
            <a:ext cx="31285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000" b="1" dirty="0"/>
              <a:t>Zero-shot learning</a:t>
            </a:r>
            <a:endParaRPr kumimoji="1" lang="ko-KR" altLang="en-US" sz="2000" b="1" dirty="0"/>
          </a:p>
        </p:txBody>
      </p:sp>
      <p:pic>
        <p:nvPicPr>
          <p:cNvPr id="5" name="그림 4" descr="텍스트, 스크린샷, 포유류, 얼룩말이(가) 표시된 사진&#10;&#10;자동 생성된 설명">
            <a:extLst>
              <a:ext uri="{FF2B5EF4-FFF2-40B4-BE49-F238E27FC236}">
                <a16:creationId xmlns:a16="http://schemas.microsoft.com/office/drawing/2014/main" id="{9992576A-3554-902E-2D1F-8FAF5D6FC3AC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20249"/>
          <a:stretch/>
        </p:blipFill>
        <p:spPr>
          <a:xfrm>
            <a:off x="3190568" y="3429000"/>
            <a:ext cx="5617530" cy="2188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9275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963224-410D-6970-F55A-4047B33520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69C3D39F-0AC2-DB82-9421-AE3342F50FA0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42027A86-6FD8-5291-960B-5C812DAC631B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975B8AC2-C220-0C86-5F8E-A64E197640BC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257E5165-18EC-65C1-C4F6-773D914568A4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364E4FB4-7A7F-EFDE-9422-4984AE3FEFC6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6884008F-80CA-2BB3-04C1-71C808E96D8D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EB7B3206-9131-CFE8-F9C0-2D7B8C32AE81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AB4749B8-FF75-24A6-08A9-5E512C9650F0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396F9DE0-C642-80D3-754B-C55518E8AA84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9B3AE5DD-C87F-DCBE-1F46-7EA8E3683C7D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A256B6E9-075A-1E1C-2217-5569C877512B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9A24E5E5-407C-082C-5334-8AA4577114D0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E2966004-8A44-C951-C9CE-0BA1B4F196B7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9C85383D-D6D1-FE48-BDE3-9433E6ECC1E2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AB2EBF7C-84C8-4E1E-5174-A6A42EC36C48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BEFCC378-C4FB-3597-E433-5978094F7983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182A764C-7B3D-D14E-3836-13299618E5C9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FF4B73C9-9366-7249-81F2-39640BD4CAF8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BC71BAAD-9E0D-9C87-8BBD-5AFCC3A85C01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BB57AD34-D483-B14B-F3D7-57E200414585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2680E7DC-4895-87B9-3790-DFEB938FF5C5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AC215F4D-B106-0416-7570-86BE8B6BB749}"/>
              </a:ext>
            </a:extLst>
          </p:cNvPr>
          <p:cNvSpPr/>
          <p:nvPr/>
        </p:nvSpPr>
        <p:spPr>
          <a:xfrm>
            <a:off x="945747" y="46331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0775AB6C-F526-5A25-4D92-6D597849969D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9FE2F16C-7930-D0C9-6935-947E15B35CD4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A5E88D7D-D1A9-1975-88E2-E7F600B1FD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C9FD0CA6-E8F4-F2E8-CAE4-F24269648DC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95ECD859-C895-C107-2B03-38955790B623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862AA87B-6320-83EA-ACFB-13A100797914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7825B671-25AE-E309-3190-5FD6DC87DCBE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5F6B0F78-5BFB-8DB3-5E69-E19D41AB5C03}"/>
              </a:ext>
            </a:extLst>
          </p:cNvPr>
          <p:cNvSpPr txBox="1"/>
          <p:nvPr/>
        </p:nvSpPr>
        <p:spPr>
          <a:xfrm>
            <a:off x="980876" y="380426"/>
            <a:ext cx="601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2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223DD578-53EE-75E8-7C44-BE8E92737A42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B9CC9F5B-8F52-8719-6AD7-DE66FFAB3198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98">
            <a:extLst>
              <a:ext uri="{FF2B5EF4-FFF2-40B4-BE49-F238E27FC236}">
                <a16:creationId xmlns:a16="http://schemas.microsoft.com/office/drawing/2014/main" id="{ED65C6FA-F6CA-EE60-2262-650987BE5CD6}"/>
              </a:ext>
            </a:extLst>
          </p:cNvPr>
          <p:cNvSpPr txBox="1"/>
          <p:nvPr/>
        </p:nvSpPr>
        <p:spPr>
          <a:xfrm>
            <a:off x="1092504" y="1496773"/>
            <a:ext cx="76037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Zero-shot learning</a:t>
            </a:r>
            <a:r>
              <a:rPr kumimoji="1" lang="ko-KR" altLang="en-US" sz="12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이란</a:t>
            </a: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BAA730BB-B15F-A0EC-2F43-195EA2FCCF2D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DB5A3F45-E689-2309-52AC-FD94C9C9E9D1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7E19D205-23CB-CCA6-8391-11C03EA86AF0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7A3D96EA-26FE-CBF0-5D2B-BBB910A25EBD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F8AB0691-7257-DB5F-1B3F-1A1A6A3CFD2A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A610AEF2-632D-1DE4-54BC-CFCEA085BF4C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2340CC94-612D-58FE-BA22-D36011128860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B587FB93-9C32-341A-D60E-23F3A5B4C52F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F28B4C42-3D87-3BC5-8814-2413B278BBE2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085F7AE8-56DF-BFFA-1EE6-8449133098AB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B3D5CDFD-D041-969D-A09F-4A4D916FC2B5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0054D99F-1E1F-FB05-5EAA-36DFCE65E64C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54489EE9-C295-A4AE-BF84-A1AB6097DAD6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BCD0650E-BC0A-50EE-9FC3-0A7011D06B4A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8E2E0335-FCB3-DEF5-22FD-58E40B141F0C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5E810C03-A4D1-A550-1D3A-9CFB1066716B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4D631545-5919-F57C-7901-56F351742E6E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86DA80D9-EE4D-6C25-8069-FFB2206A6A5A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90438758-5A49-7448-B5DD-FBB54EEC1E6F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9C3C4CC8-BCFB-8D68-46F4-FF9E9F2CF3C4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C9436356-5964-5DDA-7298-82ABF0136D86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E0195719-AA50-78C6-83E3-98D906B9F4F5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9BD26BF4-563B-6D29-6858-2CAE79245283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EA7E5DE0-AA08-16B5-C1FC-BF617EB32B05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13D53B88-9E72-BE59-FE59-B23FF6AFE712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DF4C3AFA-EA9F-F918-CB80-0FF421C753BA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510686EB-C588-9C15-FBFF-30BB727257ED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C8A5A48C-6260-5E31-06BC-78C95D018ECC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21989F9E-4FF1-9A0A-57F9-083D84C638A9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00744CD1-2190-9255-C046-E430AF4AB8CA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8C266E01-A27C-DF56-4993-F8291A713553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557BD3FB-9B39-B5B7-B13D-960DC135791F}"/>
              </a:ext>
            </a:extLst>
          </p:cNvPr>
          <p:cNvSpPr txBox="1"/>
          <p:nvPr/>
        </p:nvSpPr>
        <p:spPr>
          <a:xfrm>
            <a:off x="884159" y="128224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b="1" dirty="0">
                <a:solidFill>
                  <a:schemeClr val="accent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PPT </a:t>
            </a:r>
            <a:r>
              <a:rPr kumimoji="1" lang="ko-KR" altLang="en-US" sz="1050" b="1" dirty="0">
                <a:solidFill>
                  <a:schemeClr val="accent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템플릿 공모전</a:t>
            </a:r>
          </a:p>
        </p:txBody>
      </p: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2F242C15-E96F-34A4-8AAA-C731FFF7A3D1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3" name="바닥글 개체 틀 2">
            <a:extLst>
              <a:ext uri="{FF2B5EF4-FFF2-40B4-BE49-F238E27FC236}">
                <a16:creationId xmlns:a16="http://schemas.microsoft.com/office/drawing/2014/main" id="{0EFA268E-49EB-DDA5-F2ED-C08FB9751D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54706" y="6492875"/>
            <a:ext cx="4526280" cy="365125"/>
          </a:xfrm>
        </p:spPr>
        <p:txBody>
          <a:bodyPr/>
          <a:lstStyle/>
          <a:p>
            <a:r>
              <a:rPr lang="en-US" altLang="ko-KR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- 6/8</a:t>
            </a:r>
            <a:r>
              <a:rPr lang="ko-KR" altLang="en-US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 </a:t>
            </a:r>
            <a:r>
              <a:rPr lang="en-US" altLang="ko-KR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-</a:t>
            </a:r>
            <a:endParaRPr lang="ko-KR" altLang="en-US" sz="1100" dirty="0">
              <a:latin typeface="Apple SD Gothic Neo" panose="02000300000000000000" pitchFamily="2" charset="-127"/>
              <a:ea typeface="Apple SD Gothic Neo" panose="02000300000000000000" pitchFamily="2" charset="-127"/>
            </a:endParaRPr>
          </a:p>
        </p:txBody>
      </p:sp>
      <p:pic>
        <p:nvPicPr>
          <p:cNvPr id="214" name="그림 213">
            <a:extLst>
              <a:ext uri="{FF2B5EF4-FFF2-40B4-BE49-F238E27FC236}">
                <a16:creationId xmlns:a16="http://schemas.microsoft.com/office/drawing/2014/main" id="{7306F7D9-D352-7532-32AF-5D2B7D492F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sp>
        <p:nvSpPr>
          <p:cNvPr id="222" name="직사각형 221">
            <a:extLst>
              <a:ext uri="{FF2B5EF4-FFF2-40B4-BE49-F238E27FC236}">
                <a16:creationId xmlns:a16="http://schemas.microsoft.com/office/drawing/2014/main" id="{5E2C4A4A-0155-1683-0CBB-C80B2F4B65FC}"/>
              </a:ext>
            </a:extLst>
          </p:cNvPr>
          <p:cNvSpPr/>
          <p:nvPr/>
        </p:nvSpPr>
        <p:spPr>
          <a:xfrm>
            <a:off x="9754810" y="3111273"/>
            <a:ext cx="1415772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성장목표</a:t>
            </a: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에 기반한 </a:t>
            </a:r>
            <a:br>
              <a:rPr lang="en-US" altLang="ko-KR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</a:b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슬로건 제시</a:t>
            </a:r>
            <a:endParaRPr lang="ko-KR" altLang="en-US" sz="1200" dirty="0">
              <a:solidFill>
                <a:schemeClr val="bg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cxnSp>
        <p:nvCxnSpPr>
          <p:cNvPr id="263" name="직선 연결선[R] 116">
            <a:extLst>
              <a:ext uri="{FF2B5EF4-FFF2-40B4-BE49-F238E27FC236}">
                <a16:creationId xmlns:a16="http://schemas.microsoft.com/office/drawing/2014/main" id="{F5E490D7-C90F-5691-848C-8826D572265C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직사각형 263">
            <a:extLst>
              <a:ext uri="{FF2B5EF4-FFF2-40B4-BE49-F238E27FC236}">
                <a16:creationId xmlns:a16="http://schemas.microsoft.com/office/drawing/2014/main" id="{325BFC19-2242-9681-16D9-00476C349D0C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265" name="직사각형 264">
            <a:extLst>
              <a:ext uri="{FF2B5EF4-FFF2-40B4-BE49-F238E27FC236}">
                <a16:creationId xmlns:a16="http://schemas.microsoft.com/office/drawing/2014/main" id="{A0AEBB3C-C8DA-2C0E-BD86-8E8D00528C85}"/>
              </a:ext>
            </a:extLst>
          </p:cNvPr>
          <p:cNvSpPr/>
          <p:nvPr/>
        </p:nvSpPr>
        <p:spPr>
          <a:xfrm>
            <a:off x="11692678" y="5025663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266" name="직사각형 265">
            <a:extLst>
              <a:ext uri="{FF2B5EF4-FFF2-40B4-BE49-F238E27FC236}">
                <a16:creationId xmlns:a16="http://schemas.microsoft.com/office/drawing/2014/main" id="{059F2573-EB75-73E0-774D-A8A56E9EA8C6}"/>
              </a:ext>
            </a:extLst>
          </p:cNvPr>
          <p:cNvSpPr/>
          <p:nvPr/>
        </p:nvSpPr>
        <p:spPr>
          <a:xfrm>
            <a:off x="11692678" y="2834264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cxnSp>
        <p:nvCxnSpPr>
          <p:cNvPr id="267" name="직선 연결선[R] 111">
            <a:extLst>
              <a:ext uri="{FF2B5EF4-FFF2-40B4-BE49-F238E27FC236}">
                <a16:creationId xmlns:a16="http://schemas.microsoft.com/office/drawing/2014/main" id="{382FC87A-02C8-D032-679A-D3629A89F8EF}"/>
              </a:ext>
            </a:extLst>
          </p:cNvPr>
          <p:cNvCxnSpPr>
            <a:cxnSpLocks/>
          </p:cNvCxnSpPr>
          <p:nvPr/>
        </p:nvCxnSpPr>
        <p:spPr>
          <a:xfrm>
            <a:off x="11785494" y="2825264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직선 연결선[R] 112">
            <a:extLst>
              <a:ext uri="{FF2B5EF4-FFF2-40B4-BE49-F238E27FC236}">
                <a16:creationId xmlns:a16="http://schemas.microsoft.com/office/drawing/2014/main" id="{128CE99C-5A30-B20F-6760-2110090E4CF2}"/>
              </a:ext>
            </a:extLst>
          </p:cNvPr>
          <p:cNvCxnSpPr>
            <a:cxnSpLocks/>
          </p:cNvCxnSpPr>
          <p:nvPr/>
        </p:nvCxnSpPr>
        <p:spPr>
          <a:xfrm>
            <a:off x="11785494" y="5016664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9" name="직사각형 268">
            <a:extLst>
              <a:ext uri="{FF2B5EF4-FFF2-40B4-BE49-F238E27FC236}">
                <a16:creationId xmlns:a16="http://schemas.microsoft.com/office/drawing/2014/main" id="{E9D6A580-F657-8AAB-80AD-F60248E54E3F}"/>
              </a:ext>
            </a:extLst>
          </p:cNvPr>
          <p:cNvSpPr/>
          <p:nvPr/>
        </p:nvSpPr>
        <p:spPr>
          <a:xfrm>
            <a:off x="11789546" y="3737999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70" name="직사각형 269">
            <a:extLst>
              <a:ext uri="{FF2B5EF4-FFF2-40B4-BE49-F238E27FC236}">
                <a16:creationId xmlns:a16="http://schemas.microsoft.com/office/drawing/2014/main" id="{8FEE3454-02A9-06E0-30FE-E043BC991670}"/>
              </a:ext>
            </a:extLst>
          </p:cNvPr>
          <p:cNvSpPr/>
          <p:nvPr/>
        </p:nvSpPr>
        <p:spPr>
          <a:xfrm>
            <a:off x="11692678" y="3780360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E8B42BE4-C579-CF95-6282-D11B68D062A7}"/>
              </a:ext>
            </a:extLst>
          </p:cNvPr>
          <p:cNvSpPr txBox="1"/>
          <p:nvPr/>
        </p:nvSpPr>
        <p:spPr>
          <a:xfrm>
            <a:off x="11829560" y="4005554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3</a:t>
            </a:r>
            <a:endParaRPr kumimoji="1" lang="ko-KR" altLang="en-US" sz="800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72" name="그룹 271">
            <a:extLst>
              <a:ext uri="{FF2B5EF4-FFF2-40B4-BE49-F238E27FC236}">
                <a16:creationId xmlns:a16="http://schemas.microsoft.com/office/drawing/2014/main" id="{C1F25B02-2302-3BD1-1BD6-EE4E576482E8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273" name="모서리가 둥근 직사각형 94">
              <a:extLst>
                <a:ext uri="{FF2B5EF4-FFF2-40B4-BE49-F238E27FC236}">
                  <a16:creationId xmlns:a16="http://schemas.microsoft.com/office/drawing/2014/main" id="{B256C88E-2511-BE63-552C-6B0DB8608F19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74" name="모서리가 둥근 직사각형 97">
              <a:extLst>
                <a:ext uri="{FF2B5EF4-FFF2-40B4-BE49-F238E27FC236}">
                  <a16:creationId xmlns:a16="http://schemas.microsoft.com/office/drawing/2014/main" id="{4B859DB7-E03D-51A1-0D66-AE354159E137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75" name="모서리가 둥근 직사각형 108">
              <a:extLst>
                <a:ext uri="{FF2B5EF4-FFF2-40B4-BE49-F238E27FC236}">
                  <a16:creationId xmlns:a16="http://schemas.microsoft.com/office/drawing/2014/main" id="{D2DDD337-3087-1F7B-5A44-D32C7D304C67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76" name="모서리가 둥근 직사각형 117">
              <a:extLst>
                <a:ext uri="{FF2B5EF4-FFF2-40B4-BE49-F238E27FC236}">
                  <a16:creationId xmlns:a16="http://schemas.microsoft.com/office/drawing/2014/main" id="{4B762866-0BD4-8248-F69B-C3BD78AA48B2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sp>
        <p:nvSpPr>
          <p:cNvPr id="277" name="TextBox 276">
            <a:extLst>
              <a:ext uri="{FF2B5EF4-FFF2-40B4-BE49-F238E27FC236}">
                <a16:creationId xmlns:a16="http://schemas.microsoft.com/office/drawing/2014/main" id="{D11A43E0-B179-3EBD-A824-AFA788CF9CF6}"/>
              </a:ext>
            </a:extLst>
          </p:cNvPr>
          <p:cNvSpPr txBox="1"/>
          <p:nvPr/>
        </p:nvSpPr>
        <p:spPr>
          <a:xfrm>
            <a:off x="10844097" y="392753"/>
            <a:ext cx="98025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900" b="1" dirty="0" err="1">
                <a:solidFill>
                  <a:schemeClr val="accent1">
                    <a:lumMod val="50000"/>
                  </a:schemeClr>
                </a:solidFill>
                <a:latin typeface="APPLE SD GOTHICNEO EXTRABOLD" panose="02000300000000000000" pitchFamily="2" charset="-127"/>
                <a:ea typeface="APPLE SD GOTHICNEO EXTRABOLD" panose="02000300000000000000" pitchFamily="2" charset="-127"/>
              </a:rPr>
              <a:t>대목차</a:t>
            </a:r>
            <a:r>
              <a:rPr kumimoji="1" lang="en-US" altLang="ko-KR" sz="900" b="1" dirty="0">
                <a:solidFill>
                  <a:schemeClr val="accent1">
                    <a:lumMod val="50000"/>
                  </a:schemeClr>
                </a:solidFill>
                <a:latin typeface="APPLE SD GOTHICNEO EXTRABOLD" panose="02000300000000000000" pitchFamily="2" charset="-127"/>
                <a:ea typeface="APPLE SD GOTHICNEO EXTRABOLD" panose="02000300000000000000" pitchFamily="2" charset="-127"/>
              </a:rPr>
              <a:t>3</a:t>
            </a:r>
            <a:endParaRPr kumimoji="1" lang="ko-KR" altLang="en-US" sz="900" b="1" dirty="0">
              <a:solidFill>
                <a:schemeClr val="accent1">
                  <a:lumMod val="50000"/>
                </a:schemeClr>
              </a:solidFill>
              <a:latin typeface="APPLE SD GOTHICNEO EXTRABOLD" panose="02000300000000000000" pitchFamily="2" charset="-127"/>
              <a:ea typeface="APPLE SD GOTHICNEO EXTRABOLD" panose="02000300000000000000" pitchFamily="2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EB679CB7-9C9E-CD6A-0458-D6AD835419A9}"/>
              </a:ext>
            </a:extLst>
          </p:cNvPr>
          <p:cNvSpPr/>
          <p:nvPr/>
        </p:nvSpPr>
        <p:spPr>
          <a:xfrm>
            <a:off x="922168" y="1862794"/>
            <a:ext cx="1027692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kumimoji="1" lang="ko-KR" altLang="en-US" dirty="0">
              <a:solidFill>
                <a:schemeClr val="tx1"/>
              </a:solidFill>
            </a:endParaRPr>
          </a:p>
        </p:txBody>
      </p:sp>
      <p:grpSp>
        <p:nvGrpSpPr>
          <p:cNvPr id="10" name="그룹 9">
            <a:extLst>
              <a:ext uri="{FF2B5EF4-FFF2-40B4-BE49-F238E27FC236}">
                <a16:creationId xmlns:a16="http://schemas.microsoft.com/office/drawing/2014/main" id="{ABF574C1-4C01-D661-D932-26A20DB2A0C0}"/>
              </a:ext>
            </a:extLst>
          </p:cNvPr>
          <p:cNvGrpSpPr/>
          <p:nvPr/>
        </p:nvGrpSpPr>
        <p:grpSpPr>
          <a:xfrm>
            <a:off x="9730738" y="1521984"/>
            <a:ext cx="1537816" cy="91503"/>
            <a:chOff x="9813518" y="1638458"/>
            <a:chExt cx="1416568" cy="84289"/>
          </a:xfrm>
        </p:grpSpPr>
        <p:sp>
          <p:nvSpPr>
            <p:cNvPr id="13" name="오각형[P] 102">
              <a:extLst>
                <a:ext uri="{FF2B5EF4-FFF2-40B4-BE49-F238E27FC236}">
                  <a16:creationId xmlns:a16="http://schemas.microsoft.com/office/drawing/2014/main" id="{5C1EE161-8588-D555-7295-3E9F83212998}"/>
                </a:ext>
              </a:extLst>
            </p:cNvPr>
            <p:cNvSpPr/>
            <p:nvPr/>
          </p:nvSpPr>
          <p:spPr>
            <a:xfrm>
              <a:off x="10168686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" name="오각형[P] 103">
              <a:extLst>
                <a:ext uri="{FF2B5EF4-FFF2-40B4-BE49-F238E27FC236}">
                  <a16:creationId xmlns:a16="http://schemas.microsoft.com/office/drawing/2014/main" id="{1919FF27-42B6-C020-B60E-FB1207A40077}"/>
                </a:ext>
              </a:extLst>
            </p:cNvPr>
            <p:cNvSpPr/>
            <p:nvPr/>
          </p:nvSpPr>
          <p:spPr>
            <a:xfrm>
              <a:off x="9813518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6" name="오각형[P] 104">
              <a:extLst>
                <a:ext uri="{FF2B5EF4-FFF2-40B4-BE49-F238E27FC236}">
                  <a16:creationId xmlns:a16="http://schemas.microsoft.com/office/drawing/2014/main" id="{AF7C3AC5-40E8-E78E-9A38-5B46F4E63902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7" name="오각형[P] 105">
              <a:extLst>
                <a:ext uri="{FF2B5EF4-FFF2-40B4-BE49-F238E27FC236}">
                  <a16:creationId xmlns:a16="http://schemas.microsoft.com/office/drawing/2014/main" id="{7903DEFF-88F6-174D-438A-E12A536B3260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135E8CDB-8CD8-50D2-5EA8-7F1F1B7D32DD}"/>
              </a:ext>
            </a:extLst>
          </p:cNvPr>
          <p:cNvSpPr txBox="1"/>
          <p:nvPr/>
        </p:nvSpPr>
        <p:spPr>
          <a:xfrm>
            <a:off x="1606540" y="450119"/>
            <a:ext cx="31285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000" b="1" dirty="0"/>
              <a:t>Zero-shot learning</a:t>
            </a:r>
            <a:endParaRPr kumimoji="1" lang="ko-KR" altLang="en-US" sz="2000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CD1C0AD-691F-0874-82C0-237BF50868E4}"/>
              </a:ext>
            </a:extLst>
          </p:cNvPr>
          <p:cNvSpPr txBox="1"/>
          <p:nvPr/>
        </p:nvSpPr>
        <p:spPr>
          <a:xfrm>
            <a:off x="980876" y="2037731"/>
            <a:ext cx="9476954" cy="29472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dirty="0"/>
              <a:t>attributes(</a:t>
            </a:r>
            <a:r>
              <a:rPr lang="ko-KR" altLang="en-US" dirty="0"/>
              <a:t>속성</a:t>
            </a:r>
            <a:r>
              <a:rPr lang="en-US" altLang="ko-KR" dirty="0"/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dirty="0"/>
              <a:t>Side-information</a:t>
            </a:r>
            <a:r>
              <a:rPr lang="ko-KR" altLang="en-US" dirty="0"/>
              <a:t>에서 </a:t>
            </a:r>
            <a:r>
              <a:rPr lang="en-US" altLang="ko-KR" dirty="0"/>
              <a:t>x</a:t>
            </a:r>
            <a:r>
              <a:rPr lang="ko-KR" altLang="en-US" dirty="0"/>
              <a:t>에서의 특징을 값으로 갖고 있다</a:t>
            </a:r>
            <a:r>
              <a:rPr lang="en-US" altLang="ko-KR" dirty="0"/>
              <a:t>. </a:t>
            </a:r>
            <a:r>
              <a:rPr lang="ko-KR" altLang="en-US" dirty="0"/>
              <a:t>그리고 이러한 특징들을 </a:t>
            </a:r>
            <a:r>
              <a:rPr lang="ko-KR" altLang="en-US" dirty="0" err="1"/>
              <a:t>위키피디아등의</a:t>
            </a:r>
            <a:r>
              <a:rPr lang="ko-KR" altLang="en-US" dirty="0"/>
              <a:t> 사이트에서 가져올 수 있다</a:t>
            </a:r>
            <a:r>
              <a:rPr lang="en-US" altLang="ko-KR" dirty="0"/>
              <a:t>.</a:t>
            </a:r>
          </a:p>
          <a:p>
            <a:pPr>
              <a:lnSpc>
                <a:spcPct val="150000"/>
              </a:lnSpc>
            </a:pPr>
            <a:endParaRPr lang="en-US" altLang="ko-KR" dirty="0"/>
          </a:p>
          <a:p>
            <a:pPr>
              <a:lnSpc>
                <a:spcPct val="150000"/>
              </a:lnSpc>
            </a:pPr>
            <a:r>
              <a:rPr lang="en-US" altLang="ko-KR" dirty="0"/>
              <a:t>Hierarchy similarity measure (</a:t>
            </a:r>
            <a:r>
              <a:rPr lang="ko-KR" altLang="en-US" dirty="0"/>
              <a:t>계층 유사도 측정</a:t>
            </a:r>
            <a:r>
              <a:rPr lang="en-US" altLang="ko-KR" dirty="0"/>
              <a:t>)</a:t>
            </a:r>
          </a:p>
          <a:p>
            <a:pPr>
              <a:lnSpc>
                <a:spcPct val="150000"/>
              </a:lnSpc>
            </a:pPr>
            <a:r>
              <a:rPr lang="ko-KR" altLang="en-US" dirty="0"/>
              <a:t>계층 구조 내에서 두 개의 노드</a:t>
            </a:r>
            <a:r>
              <a:rPr lang="en-US" altLang="ko-KR" dirty="0"/>
              <a:t>(</a:t>
            </a:r>
            <a:r>
              <a:rPr lang="ko-KR" altLang="en-US" dirty="0"/>
              <a:t>클래스 또는 속성</a:t>
            </a:r>
            <a:r>
              <a:rPr lang="en-US" altLang="ko-KR" dirty="0"/>
              <a:t>) </a:t>
            </a:r>
            <a:r>
              <a:rPr lang="ko-KR" altLang="en-US" dirty="0"/>
              <a:t>간의 관계를 정량적으로 평가하는 방법</a:t>
            </a:r>
            <a:endParaRPr lang="en-US" altLang="ko-KR" dirty="0"/>
          </a:p>
          <a:p>
            <a:pPr>
              <a:lnSpc>
                <a:spcPct val="150000"/>
              </a:lnSpc>
            </a:pPr>
            <a:endParaRPr lang="en-US" altLang="ko-KR" dirty="0"/>
          </a:p>
        </p:txBody>
      </p:sp>
      <p:pic>
        <p:nvPicPr>
          <p:cNvPr id="9" name="그림 8" descr="텍스트, 스크린샷, 폰트이(가) 표시된 사진&#10;&#10;자동 생성된 설명">
            <a:extLst>
              <a:ext uri="{FF2B5EF4-FFF2-40B4-BE49-F238E27FC236}">
                <a16:creationId xmlns:a16="http://schemas.microsoft.com/office/drawing/2014/main" id="{53D7B6F7-6FF9-B34C-1553-67D52094B29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3721" y="4479775"/>
            <a:ext cx="4812848" cy="1928106"/>
          </a:xfrm>
          <a:prstGeom prst="rect">
            <a:avLst/>
          </a:prstGeom>
        </p:spPr>
      </p:pic>
      <p:pic>
        <p:nvPicPr>
          <p:cNvPr id="37" name="그림 36" descr="텍스트, 스크린샷이(가) 표시된 사진&#10;&#10;자동 생성된 설명">
            <a:extLst>
              <a:ext uri="{FF2B5EF4-FFF2-40B4-BE49-F238E27FC236}">
                <a16:creationId xmlns:a16="http://schemas.microsoft.com/office/drawing/2014/main" id="{5FBA638D-3E4F-3C47-26F7-DB764D4727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37019" y="4487659"/>
            <a:ext cx="4614393" cy="1943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5555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DFDC67-5ADB-915D-E36E-CE2135E28B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59A73374-FA50-BE4F-D7A7-AF47E3DEA9B0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316028A0-0D53-A951-BFAF-D525D17832C5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4EE185D4-03AC-85FE-A930-7D6F913ABBC1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F9AA7204-3F73-1764-7BE4-36ECCDD6097F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F09DD1FA-6A38-4D6B-9030-45CAC9CFC8A5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035A56C9-3CCB-FDBF-DA01-D640259304F0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B5452BDD-4744-2108-C0A9-3D889706CBDB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FB4388B5-2737-A584-037B-0D793A11BC1D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8041988E-30C8-D940-DD4B-C913F8E3931F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8E5189B2-19A2-FCDC-5A19-8244A08E8221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C050EBF0-412E-64AF-4460-B95428BAECF2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9AFBF870-528A-0D4A-F32F-ACF5EAF823A0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1268068C-91B1-1260-DE38-F87360047EBD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501F2DA8-39D8-2291-7E19-D84C77996A7E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DA532130-AACD-546D-F521-A9117F3EFE67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A37D9F65-ED6C-DADE-2089-6E243B7D68C7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64D9249E-9551-762C-39D6-076CDF4023D6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B4895CAF-6CCE-7442-9412-392589F94DCE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E79F0AE4-BDDA-140A-9BC2-8FFEC5A1DD45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39FBCDB8-359A-A47C-9300-47E27C3472FD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BB50BBED-FF59-BC88-CB6A-3944F4D9058F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0F7A3FAA-2EA0-5190-A6BB-408DD0D1BAC0}"/>
              </a:ext>
            </a:extLst>
          </p:cNvPr>
          <p:cNvSpPr/>
          <p:nvPr/>
        </p:nvSpPr>
        <p:spPr>
          <a:xfrm>
            <a:off x="945747" y="46331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D47E74CD-48DA-E3A5-5C03-55D0ACD956C9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A419B09E-2DC4-9487-B168-7FC1B79C6E07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C879DC32-7F95-4130-50E0-43191A3F60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69E359C0-2B03-6E39-A7F6-EFFC2D6E248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74968676-7A15-2850-A713-310E1A5C56BE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AD1CFEB0-8202-32D7-4E4D-AB777AD3143A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FEFB8676-41A9-B539-12DE-1056A8DFC8F7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5958A4A3-4548-6957-3171-E406043BFDFE}"/>
              </a:ext>
            </a:extLst>
          </p:cNvPr>
          <p:cNvSpPr txBox="1"/>
          <p:nvPr/>
        </p:nvSpPr>
        <p:spPr>
          <a:xfrm>
            <a:off x="980876" y="380426"/>
            <a:ext cx="601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2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24459C91-7624-AD59-E797-1E495E8F3DB0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40B34556-49EA-23D7-1398-14580067A584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98">
            <a:extLst>
              <a:ext uri="{FF2B5EF4-FFF2-40B4-BE49-F238E27FC236}">
                <a16:creationId xmlns:a16="http://schemas.microsoft.com/office/drawing/2014/main" id="{3369F4B7-D01B-4E98-861B-6B209A2E2AA0}"/>
              </a:ext>
            </a:extLst>
          </p:cNvPr>
          <p:cNvSpPr txBox="1"/>
          <p:nvPr/>
        </p:nvSpPr>
        <p:spPr>
          <a:xfrm>
            <a:off x="1092504" y="1496773"/>
            <a:ext cx="76037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/>
              <a:t>Embedding-based approach</a:t>
            </a:r>
            <a:endParaRPr kumimoji="1" lang="ko-KR" altLang="en-US" sz="1200" dirty="0">
              <a:latin typeface="Apple SD Gothic Neo" panose="02000300000000000000" pitchFamily="2" charset="-127"/>
              <a:ea typeface="Apple SD Gothic Neo" panose="02000300000000000000" pitchFamily="2" charset="-127"/>
            </a:endParaRP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57ACE7AB-7CCB-1708-8571-E1F3CED76767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30942B9A-71C1-3DD7-3269-DB882193819E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829017D1-8DEE-46EC-623A-C35FC43416FA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1D0BB714-A296-BF32-1B68-CABF83143A0C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DFBC76E0-A126-009F-A247-918F8CE9EDB7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5F3B5E06-5876-E028-C8C8-9272F065B007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CC6D274F-07BD-6DC1-794B-9165FAE08A8E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658019CE-5465-19BD-4779-9E85A3865DE7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05F01D2C-4E40-BC6E-A45F-9296E61F7B39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DDF360E5-3234-A605-CDAE-5BA37C4E7BCE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39F3A5CD-273A-51BA-0F4F-6824E4820DF0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72D01D2B-B530-D879-1AC7-AF0E12DC3810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33B7C876-10EF-92C1-66A9-14655C57F31E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55680F7C-4FDA-A50B-9AF1-948EE2315F02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815310C1-4525-F722-3D80-46DCDA28FE29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3CEDABBA-C00C-A960-DFCC-2F31F937AD90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18AF01B1-3925-8987-A33E-E2E162116F4F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FCF20694-ABBB-E203-7152-BD8B36952944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6B7036F4-4FDC-4775-9355-C8C1E2DE0226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AAD8410C-9B9C-BBC9-1B6A-69B609C312D5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D8213AEF-89BE-A03D-8D62-C818EC3574BE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263FED64-6900-1A55-B41C-0DFE608782B4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DC94F9AC-6C27-E9AC-CF62-B9E4655D289F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675469A0-8452-3A26-EBF2-923B43CC314A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27A5DB98-CF82-F720-6216-57F48A1685E8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D93BCF97-2485-36E6-A4FE-E8B3D5DD5DD6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5F55EED1-5896-88B8-D73D-13BBE03314B0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7347D88A-BC9D-93DD-5333-05DF0A5D8030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8FC74A11-E969-3635-CF05-7283CEF56276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B32B4599-FA5A-887E-131A-C50BE2AC0C0C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9E8CB0F3-1433-4E4A-C42F-4AAFA96E21F6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B227B149-5E88-8837-E5A3-C5937E11D600}"/>
              </a:ext>
            </a:extLst>
          </p:cNvPr>
          <p:cNvSpPr txBox="1"/>
          <p:nvPr/>
        </p:nvSpPr>
        <p:spPr>
          <a:xfrm>
            <a:off x="884159" y="128224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b="1" dirty="0">
                <a:solidFill>
                  <a:schemeClr val="accent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PPT </a:t>
            </a:r>
            <a:r>
              <a:rPr kumimoji="1" lang="ko-KR" altLang="en-US" sz="1050" b="1" dirty="0">
                <a:solidFill>
                  <a:schemeClr val="accent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템플릿 공모전</a:t>
            </a:r>
          </a:p>
        </p:txBody>
      </p: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B693B2BC-19FE-76A9-537E-7CEE093A8FD7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3" name="바닥글 개체 틀 2">
            <a:extLst>
              <a:ext uri="{FF2B5EF4-FFF2-40B4-BE49-F238E27FC236}">
                <a16:creationId xmlns:a16="http://schemas.microsoft.com/office/drawing/2014/main" id="{468A5556-BD76-42F7-5824-E2B94C2DED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54706" y="6492875"/>
            <a:ext cx="4526280" cy="365125"/>
          </a:xfrm>
        </p:spPr>
        <p:txBody>
          <a:bodyPr/>
          <a:lstStyle/>
          <a:p>
            <a:r>
              <a:rPr lang="en-US" altLang="ko-KR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- 6/8</a:t>
            </a:r>
            <a:r>
              <a:rPr lang="ko-KR" altLang="en-US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 </a:t>
            </a:r>
            <a:r>
              <a:rPr lang="en-US" altLang="ko-KR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-</a:t>
            </a:r>
            <a:endParaRPr lang="ko-KR" altLang="en-US" sz="1100" dirty="0">
              <a:latin typeface="Apple SD Gothic Neo" panose="02000300000000000000" pitchFamily="2" charset="-127"/>
              <a:ea typeface="Apple SD Gothic Neo" panose="02000300000000000000" pitchFamily="2" charset="-127"/>
            </a:endParaRPr>
          </a:p>
        </p:txBody>
      </p:sp>
      <p:pic>
        <p:nvPicPr>
          <p:cNvPr id="214" name="그림 213">
            <a:extLst>
              <a:ext uri="{FF2B5EF4-FFF2-40B4-BE49-F238E27FC236}">
                <a16:creationId xmlns:a16="http://schemas.microsoft.com/office/drawing/2014/main" id="{73879231-AC4C-AEF9-22A0-A3F29DEB49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sp>
        <p:nvSpPr>
          <p:cNvPr id="222" name="직사각형 221">
            <a:extLst>
              <a:ext uri="{FF2B5EF4-FFF2-40B4-BE49-F238E27FC236}">
                <a16:creationId xmlns:a16="http://schemas.microsoft.com/office/drawing/2014/main" id="{109A84AF-E866-4C02-E04A-6B75F489DFA9}"/>
              </a:ext>
            </a:extLst>
          </p:cNvPr>
          <p:cNvSpPr/>
          <p:nvPr/>
        </p:nvSpPr>
        <p:spPr>
          <a:xfrm>
            <a:off x="9754810" y="3111273"/>
            <a:ext cx="1415772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성장목표</a:t>
            </a: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에 기반한 </a:t>
            </a:r>
            <a:br>
              <a:rPr lang="en-US" altLang="ko-KR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</a:b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슬로건 제시</a:t>
            </a:r>
            <a:endParaRPr lang="ko-KR" altLang="en-US" sz="1200" dirty="0">
              <a:solidFill>
                <a:schemeClr val="bg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cxnSp>
        <p:nvCxnSpPr>
          <p:cNvPr id="263" name="직선 연결선[R] 116">
            <a:extLst>
              <a:ext uri="{FF2B5EF4-FFF2-40B4-BE49-F238E27FC236}">
                <a16:creationId xmlns:a16="http://schemas.microsoft.com/office/drawing/2014/main" id="{A2FA9E51-D4D2-A663-EBF3-81E951ED0221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직사각형 263">
            <a:extLst>
              <a:ext uri="{FF2B5EF4-FFF2-40B4-BE49-F238E27FC236}">
                <a16:creationId xmlns:a16="http://schemas.microsoft.com/office/drawing/2014/main" id="{C5F5373C-390D-E339-71B6-3EAB0218686A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265" name="직사각형 264">
            <a:extLst>
              <a:ext uri="{FF2B5EF4-FFF2-40B4-BE49-F238E27FC236}">
                <a16:creationId xmlns:a16="http://schemas.microsoft.com/office/drawing/2014/main" id="{32DA04AE-DA2D-1B84-339F-B06D162AF09F}"/>
              </a:ext>
            </a:extLst>
          </p:cNvPr>
          <p:cNvSpPr/>
          <p:nvPr/>
        </p:nvSpPr>
        <p:spPr>
          <a:xfrm>
            <a:off x="11692678" y="5025663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266" name="직사각형 265">
            <a:extLst>
              <a:ext uri="{FF2B5EF4-FFF2-40B4-BE49-F238E27FC236}">
                <a16:creationId xmlns:a16="http://schemas.microsoft.com/office/drawing/2014/main" id="{2F4AED25-FDB1-BB97-114B-588582DA4571}"/>
              </a:ext>
            </a:extLst>
          </p:cNvPr>
          <p:cNvSpPr/>
          <p:nvPr/>
        </p:nvSpPr>
        <p:spPr>
          <a:xfrm>
            <a:off x="11692678" y="2834264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cxnSp>
        <p:nvCxnSpPr>
          <p:cNvPr id="267" name="직선 연결선[R] 111">
            <a:extLst>
              <a:ext uri="{FF2B5EF4-FFF2-40B4-BE49-F238E27FC236}">
                <a16:creationId xmlns:a16="http://schemas.microsoft.com/office/drawing/2014/main" id="{A0DE80A2-3C8A-0255-5A2E-B17FAA4745CB}"/>
              </a:ext>
            </a:extLst>
          </p:cNvPr>
          <p:cNvCxnSpPr>
            <a:cxnSpLocks/>
          </p:cNvCxnSpPr>
          <p:nvPr/>
        </p:nvCxnSpPr>
        <p:spPr>
          <a:xfrm>
            <a:off x="11785494" y="2825264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직선 연결선[R] 112">
            <a:extLst>
              <a:ext uri="{FF2B5EF4-FFF2-40B4-BE49-F238E27FC236}">
                <a16:creationId xmlns:a16="http://schemas.microsoft.com/office/drawing/2014/main" id="{0121EA14-6A57-A498-0FDF-2B4D591B0938}"/>
              </a:ext>
            </a:extLst>
          </p:cNvPr>
          <p:cNvCxnSpPr>
            <a:cxnSpLocks/>
          </p:cNvCxnSpPr>
          <p:nvPr/>
        </p:nvCxnSpPr>
        <p:spPr>
          <a:xfrm>
            <a:off x="11785494" y="5016664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9" name="직사각형 268">
            <a:extLst>
              <a:ext uri="{FF2B5EF4-FFF2-40B4-BE49-F238E27FC236}">
                <a16:creationId xmlns:a16="http://schemas.microsoft.com/office/drawing/2014/main" id="{7454318F-149E-B03F-FA7B-DCBC4B8D01EB}"/>
              </a:ext>
            </a:extLst>
          </p:cNvPr>
          <p:cNvSpPr/>
          <p:nvPr/>
        </p:nvSpPr>
        <p:spPr>
          <a:xfrm>
            <a:off x="11789546" y="3737999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70" name="직사각형 269">
            <a:extLst>
              <a:ext uri="{FF2B5EF4-FFF2-40B4-BE49-F238E27FC236}">
                <a16:creationId xmlns:a16="http://schemas.microsoft.com/office/drawing/2014/main" id="{F158FA70-6D57-83E9-75E3-BBD71C295575}"/>
              </a:ext>
            </a:extLst>
          </p:cNvPr>
          <p:cNvSpPr/>
          <p:nvPr/>
        </p:nvSpPr>
        <p:spPr>
          <a:xfrm>
            <a:off x="11692678" y="3780360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D6C75C82-C509-F902-F1B6-57687B5970BE}"/>
              </a:ext>
            </a:extLst>
          </p:cNvPr>
          <p:cNvSpPr txBox="1"/>
          <p:nvPr/>
        </p:nvSpPr>
        <p:spPr>
          <a:xfrm>
            <a:off x="11829560" y="4005554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3</a:t>
            </a:r>
            <a:endParaRPr kumimoji="1" lang="ko-KR" altLang="en-US" sz="800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72" name="그룹 271">
            <a:extLst>
              <a:ext uri="{FF2B5EF4-FFF2-40B4-BE49-F238E27FC236}">
                <a16:creationId xmlns:a16="http://schemas.microsoft.com/office/drawing/2014/main" id="{7252355C-501B-7FAB-4979-DCAD1021232D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273" name="모서리가 둥근 직사각형 94">
              <a:extLst>
                <a:ext uri="{FF2B5EF4-FFF2-40B4-BE49-F238E27FC236}">
                  <a16:creationId xmlns:a16="http://schemas.microsoft.com/office/drawing/2014/main" id="{C2BC491E-CF17-B47B-0C66-67DDC627C723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74" name="모서리가 둥근 직사각형 97">
              <a:extLst>
                <a:ext uri="{FF2B5EF4-FFF2-40B4-BE49-F238E27FC236}">
                  <a16:creationId xmlns:a16="http://schemas.microsoft.com/office/drawing/2014/main" id="{63E56B0F-52D1-DA4B-C4EA-129079BBFDC2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75" name="모서리가 둥근 직사각형 108">
              <a:extLst>
                <a:ext uri="{FF2B5EF4-FFF2-40B4-BE49-F238E27FC236}">
                  <a16:creationId xmlns:a16="http://schemas.microsoft.com/office/drawing/2014/main" id="{7A139EF4-659F-81BD-9708-CF8B7911BE49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76" name="모서리가 둥근 직사각형 117">
              <a:extLst>
                <a:ext uri="{FF2B5EF4-FFF2-40B4-BE49-F238E27FC236}">
                  <a16:creationId xmlns:a16="http://schemas.microsoft.com/office/drawing/2014/main" id="{F5E6DBDB-5FF9-93F6-9496-1492A019A06E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sp>
        <p:nvSpPr>
          <p:cNvPr id="277" name="TextBox 276">
            <a:extLst>
              <a:ext uri="{FF2B5EF4-FFF2-40B4-BE49-F238E27FC236}">
                <a16:creationId xmlns:a16="http://schemas.microsoft.com/office/drawing/2014/main" id="{4E799002-38A4-EE0B-EC77-E43714043A5E}"/>
              </a:ext>
            </a:extLst>
          </p:cNvPr>
          <p:cNvSpPr txBox="1"/>
          <p:nvPr/>
        </p:nvSpPr>
        <p:spPr>
          <a:xfrm>
            <a:off x="10844097" y="392753"/>
            <a:ext cx="98025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900" b="1" dirty="0" err="1">
                <a:solidFill>
                  <a:schemeClr val="accent1">
                    <a:lumMod val="50000"/>
                  </a:schemeClr>
                </a:solidFill>
                <a:latin typeface="APPLE SD GOTHICNEO EXTRABOLD" panose="02000300000000000000" pitchFamily="2" charset="-127"/>
                <a:ea typeface="APPLE SD GOTHICNEO EXTRABOLD" panose="02000300000000000000" pitchFamily="2" charset="-127"/>
              </a:rPr>
              <a:t>대목차</a:t>
            </a:r>
            <a:r>
              <a:rPr kumimoji="1" lang="en-US" altLang="ko-KR" sz="900" b="1" dirty="0">
                <a:solidFill>
                  <a:schemeClr val="accent1">
                    <a:lumMod val="50000"/>
                  </a:schemeClr>
                </a:solidFill>
                <a:latin typeface="APPLE SD GOTHICNEO EXTRABOLD" panose="02000300000000000000" pitchFamily="2" charset="-127"/>
                <a:ea typeface="APPLE SD GOTHICNEO EXTRABOLD" panose="02000300000000000000" pitchFamily="2" charset="-127"/>
              </a:rPr>
              <a:t>3</a:t>
            </a:r>
            <a:endParaRPr kumimoji="1" lang="ko-KR" altLang="en-US" sz="900" b="1" dirty="0">
              <a:solidFill>
                <a:schemeClr val="accent1">
                  <a:lumMod val="50000"/>
                </a:schemeClr>
              </a:solidFill>
              <a:latin typeface="APPLE SD GOTHICNEO EXTRABOLD" panose="02000300000000000000" pitchFamily="2" charset="-127"/>
              <a:ea typeface="APPLE SD GOTHICNEO EXTRABOLD" panose="02000300000000000000" pitchFamily="2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3626638E-ED99-BFD9-3703-D4C216CA3D6E}"/>
              </a:ext>
            </a:extLst>
          </p:cNvPr>
          <p:cNvSpPr/>
          <p:nvPr/>
        </p:nvSpPr>
        <p:spPr>
          <a:xfrm>
            <a:off x="884159" y="1815111"/>
            <a:ext cx="1027692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Attributes</a:t>
            </a:r>
            <a:r>
              <a:rPr kumimoji="1" lang="ko-KR" altLang="en-US" dirty="0">
                <a:solidFill>
                  <a:schemeClr val="tx1"/>
                </a:solidFill>
              </a:rPr>
              <a:t>를 사용하여 각 클래스에 있는 정보를 </a:t>
            </a:r>
            <a:r>
              <a:rPr kumimoji="1" lang="en-US" altLang="ko-KR" dirty="0">
                <a:solidFill>
                  <a:schemeClr val="tx1"/>
                </a:solidFill>
              </a:rPr>
              <a:t>vector </a:t>
            </a:r>
            <a:r>
              <a:rPr kumimoji="1" lang="ko-KR" altLang="en-US" dirty="0">
                <a:solidFill>
                  <a:schemeClr val="tx1"/>
                </a:solidFill>
              </a:rPr>
              <a:t>형태로 변환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ko-KR" altLang="en-US" dirty="0">
                <a:solidFill>
                  <a:schemeClr val="tx1"/>
                </a:solidFill>
              </a:rPr>
              <a:t>이때 이미지에 해당하는 의미를 가진 </a:t>
            </a:r>
            <a:r>
              <a:rPr kumimoji="1" lang="en-US" altLang="ko-KR" dirty="0">
                <a:solidFill>
                  <a:schemeClr val="tx1"/>
                </a:solidFill>
              </a:rPr>
              <a:t>embedding </a:t>
            </a:r>
            <a:r>
              <a:rPr kumimoji="1" lang="ko-KR" altLang="en-US" dirty="0">
                <a:solidFill>
                  <a:schemeClr val="tx1"/>
                </a:solidFill>
              </a:rPr>
              <a:t>값이 있다</a:t>
            </a:r>
            <a:r>
              <a:rPr kumimoji="1" lang="en-US" altLang="ko-KR" dirty="0">
                <a:solidFill>
                  <a:schemeClr val="tx1"/>
                </a:solidFill>
              </a:rPr>
              <a:t>.</a:t>
            </a: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ko-KR" altLang="en-US" dirty="0">
              <a:solidFill>
                <a:schemeClr val="tx1"/>
              </a:solidFill>
            </a:endParaRPr>
          </a:p>
        </p:txBody>
      </p:sp>
      <p:grpSp>
        <p:nvGrpSpPr>
          <p:cNvPr id="10" name="그룹 9">
            <a:extLst>
              <a:ext uri="{FF2B5EF4-FFF2-40B4-BE49-F238E27FC236}">
                <a16:creationId xmlns:a16="http://schemas.microsoft.com/office/drawing/2014/main" id="{695B6283-5922-0CBE-9510-753218B137F2}"/>
              </a:ext>
            </a:extLst>
          </p:cNvPr>
          <p:cNvGrpSpPr/>
          <p:nvPr/>
        </p:nvGrpSpPr>
        <p:grpSpPr>
          <a:xfrm>
            <a:off x="9730738" y="1521984"/>
            <a:ext cx="1537816" cy="91503"/>
            <a:chOff x="9813518" y="1638458"/>
            <a:chExt cx="1416568" cy="84289"/>
          </a:xfrm>
        </p:grpSpPr>
        <p:sp>
          <p:nvSpPr>
            <p:cNvPr id="13" name="오각형[P] 102">
              <a:extLst>
                <a:ext uri="{FF2B5EF4-FFF2-40B4-BE49-F238E27FC236}">
                  <a16:creationId xmlns:a16="http://schemas.microsoft.com/office/drawing/2014/main" id="{7F976A8A-6070-BA59-9D77-64C53E850050}"/>
                </a:ext>
              </a:extLst>
            </p:cNvPr>
            <p:cNvSpPr/>
            <p:nvPr/>
          </p:nvSpPr>
          <p:spPr>
            <a:xfrm>
              <a:off x="10168686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" name="오각형[P] 103">
              <a:extLst>
                <a:ext uri="{FF2B5EF4-FFF2-40B4-BE49-F238E27FC236}">
                  <a16:creationId xmlns:a16="http://schemas.microsoft.com/office/drawing/2014/main" id="{A01E8247-9662-0876-92D4-F796416D4E53}"/>
                </a:ext>
              </a:extLst>
            </p:cNvPr>
            <p:cNvSpPr/>
            <p:nvPr/>
          </p:nvSpPr>
          <p:spPr>
            <a:xfrm>
              <a:off x="9813518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6" name="오각형[P] 104">
              <a:extLst>
                <a:ext uri="{FF2B5EF4-FFF2-40B4-BE49-F238E27FC236}">
                  <a16:creationId xmlns:a16="http://schemas.microsoft.com/office/drawing/2014/main" id="{131BCA3D-58A1-A9D0-E91C-D0E9DD275A2E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7" name="오각형[P] 105">
              <a:extLst>
                <a:ext uri="{FF2B5EF4-FFF2-40B4-BE49-F238E27FC236}">
                  <a16:creationId xmlns:a16="http://schemas.microsoft.com/office/drawing/2014/main" id="{B235F5B1-2123-E3DF-7F15-056D442DFE9F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7EDBA84E-7709-260B-BDB3-30CF82ED5EAF}"/>
              </a:ext>
            </a:extLst>
          </p:cNvPr>
          <p:cNvSpPr txBox="1"/>
          <p:nvPr/>
        </p:nvSpPr>
        <p:spPr>
          <a:xfrm>
            <a:off x="1606540" y="450119"/>
            <a:ext cx="31285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000" b="1" dirty="0"/>
              <a:t>Zero-shot learning</a:t>
            </a:r>
            <a:endParaRPr kumimoji="1" lang="ko-KR" altLang="en-US" sz="2000" b="1" dirty="0"/>
          </a:p>
        </p:txBody>
      </p:sp>
      <p:pic>
        <p:nvPicPr>
          <p:cNvPr id="5" name="그림 4" descr="텍스트, 포유류, 스크린샷이(가) 표시된 사진&#10;&#10;자동 생성된 설명">
            <a:extLst>
              <a:ext uri="{FF2B5EF4-FFF2-40B4-BE49-F238E27FC236}">
                <a16:creationId xmlns:a16="http://schemas.microsoft.com/office/drawing/2014/main" id="{81111274-A5C1-27BE-C947-83D14767039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61160" y="3111273"/>
            <a:ext cx="5582429" cy="2791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0450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C4406F-3FB6-4BE4-8E44-F1F253B499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5E5E8EBE-F677-ABD5-E950-78E2BE03EF0F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094A51B2-49CE-A390-789C-7EAA55FC03DE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0A1981A5-37C5-5D58-CCCA-B0A014BC4132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EBAE01F7-2CDC-E782-FFD0-87D9C34C368A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774E8337-C188-4495-CD33-A9E8E576E778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5F764019-96BA-9233-DE09-A98ED1E48B1C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AD636E39-082B-C407-1781-201513C5CE1E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D1F1ABDD-64BD-737F-84AB-8D72B237044C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155212C0-907F-564C-7108-D8B459E94CCF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53966AA1-6369-A4A8-D818-EF21FC59A79E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2F799315-8135-915F-B4CD-1C95C2055769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A2224B4E-E1A0-C347-3C06-58DB039779D9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FEAD7BB1-0E90-5D3E-C588-847F0F996E23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CF089283-8A9B-1BE2-CE11-FD53FBBBE0F8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C6E2C56E-A13B-3E34-2604-6B0BA691CBDD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6C06666F-0450-FB2C-6F8B-E3771ED86343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7B8ECE5B-42B5-1BBD-254A-1D41F2682FF6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E6255517-8307-936E-5DA5-508C3244730B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75BD4AC4-095D-FCE2-EC52-8BDFE1858132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B3DDF472-618A-0E37-8FD3-6BBAB5A89BCA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BA0574C0-97F1-2DBF-34D0-9E067EBC6A24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6F4C6A15-86D5-175E-86F0-3F664923F19C}"/>
              </a:ext>
            </a:extLst>
          </p:cNvPr>
          <p:cNvSpPr/>
          <p:nvPr/>
        </p:nvSpPr>
        <p:spPr>
          <a:xfrm>
            <a:off x="945747" y="46331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17EF653-C966-A581-05B3-3DA5254A71BC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A89AD56E-C3F9-8DDC-1D98-1470236E5D32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AC32BAC-7C33-F4ED-8552-DE93BFF03A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947E9635-9F4B-9039-B72F-30EBA48DEA2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0DAB2A99-582C-95BF-376F-8DBBF1943C40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A531C203-455C-1A72-C4A9-0E92619C612B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087A6C2D-36AD-0C83-03C7-DF555A7D6161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F5EAA12-6F61-5F9D-1B12-DCEC2DC63EF0}"/>
              </a:ext>
            </a:extLst>
          </p:cNvPr>
          <p:cNvSpPr txBox="1"/>
          <p:nvPr/>
        </p:nvSpPr>
        <p:spPr>
          <a:xfrm>
            <a:off x="980876" y="380426"/>
            <a:ext cx="601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2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019539E7-AABA-0973-B89D-ECF600FA99D8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37184695-B426-41CD-469E-E55B1D421706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98">
            <a:extLst>
              <a:ext uri="{FF2B5EF4-FFF2-40B4-BE49-F238E27FC236}">
                <a16:creationId xmlns:a16="http://schemas.microsoft.com/office/drawing/2014/main" id="{C4BB9501-C8FA-B779-A29D-C2B711191B68}"/>
              </a:ext>
            </a:extLst>
          </p:cNvPr>
          <p:cNvSpPr txBox="1"/>
          <p:nvPr/>
        </p:nvSpPr>
        <p:spPr>
          <a:xfrm>
            <a:off x="1092504" y="1496773"/>
            <a:ext cx="76037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/>
              <a:t>Embedding-based approach</a:t>
            </a:r>
            <a:endParaRPr kumimoji="1" lang="ko-KR" altLang="en-US" sz="1200" dirty="0">
              <a:latin typeface="Apple SD Gothic Neo" panose="02000300000000000000" pitchFamily="2" charset="-127"/>
              <a:ea typeface="Apple SD Gothic Neo" panose="02000300000000000000" pitchFamily="2" charset="-127"/>
            </a:endParaRP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EEBD36F4-A6EA-C931-787F-E7EC331638FC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C1A32C77-4F20-2413-D69F-E76B080FA5BC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21B6AD72-284E-E04D-0057-3D2E2E041CE5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446FC64A-D4D6-BC65-C50A-DA8C2BDEB104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1D73AD77-AE48-A577-F281-B036DE034814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7EB95776-3E83-57CD-83A7-F4BAC44FE32F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FBBB2908-4B95-A565-707D-699A6586FC1C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37C7243C-FA92-397D-9EC9-50D1DFDCEEFB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1E498CCD-EE41-4DD4-0B1A-9A72BDC72F62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8266B304-52D2-E044-665C-4C747ED134B6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3A36DAFD-4251-44BE-B005-158655785412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0699E1CD-5EB8-6882-AB3C-F1430448277E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F0BADB1B-43FD-4883-6202-81A1A3A36D8F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68FF7EA8-6A75-9719-A22A-8D61B5C2FED4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22C8CE89-CB1F-FCB7-DA22-52CFDEDB9447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4CB884D9-1951-41CE-E1EC-248659F4543D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C36FE8C3-2FA3-A01C-D173-D9BBFFE2EF5F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48211CBE-0850-E778-53BC-28EC0AB2D1E7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56CDF599-5615-CD44-2365-1B65F07BC1D3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49B59A48-6EEB-9AA7-5B8D-862DCF516CEE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A64226CF-B33F-C5F9-3C9F-20BEAAB9630C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D0446BC3-45B1-3DF6-409C-F6DE9466CB36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574E8DE2-A778-053B-EB9A-0EECE00F0F25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0695A627-E231-A6AB-0297-E83DAF4AD718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66EAF499-6FC7-9656-97A0-D9128933CE2D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B10B72DA-A76E-255A-C393-2535800A3E5F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8947F142-B2F5-3504-8D91-610FABC32391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AFAECA64-0079-4343-707C-FFBDC7793F55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E03B5A28-1886-D607-CD98-460485989E19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0B080F95-22EB-F755-D68A-1D72CA335892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093D26E2-1AD8-F445-999C-F03B210FDAD1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34B64A21-1555-EB55-C9D6-D47A5D160E99}"/>
              </a:ext>
            </a:extLst>
          </p:cNvPr>
          <p:cNvSpPr txBox="1"/>
          <p:nvPr/>
        </p:nvSpPr>
        <p:spPr>
          <a:xfrm>
            <a:off x="884159" y="128224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b="1" dirty="0">
                <a:solidFill>
                  <a:schemeClr val="accent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PPT </a:t>
            </a:r>
            <a:r>
              <a:rPr kumimoji="1" lang="ko-KR" altLang="en-US" sz="1050" b="1" dirty="0">
                <a:solidFill>
                  <a:schemeClr val="accent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템플릿 공모전</a:t>
            </a:r>
          </a:p>
        </p:txBody>
      </p: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D24B6794-42A2-4FFB-EC0D-F427C827A588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3" name="바닥글 개체 틀 2">
            <a:extLst>
              <a:ext uri="{FF2B5EF4-FFF2-40B4-BE49-F238E27FC236}">
                <a16:creationId xmlns:a16="http://schemas.microsoft.com/office/drawing/2014/main" id="{D8DC9699-741E-4BBF-93CF-3D21B29B31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54706" y="6492875"/>
            <a:ext cx="4526280" cy="365125"/>
          </a:xfrm>
        </p:spPr>
        <p:txBody>
          <a:bodyPr/>
          <a:lstStyle/>
          <a:p>
            <a:r>
              <a:rPr lang="en-US" altLang="ko-KR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- 6/8</a:t>
            </a:r>
            <a:r>
              <a:rPr lang="ko-KR" altLang="en-US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 </a:t>
            </a:r>
            <a:r>
              <a:rPr lang="en-US" altLang="ko-KR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-</a:t>
            </a:r>
            <a:endParaRPr lang="ko-KR" altLang="en-US" sz="1100" dirty="0">
              <a:latin typeface="Apple SD Gothic Neo" panose="02000300000000000000" pitchFamily="2" charset="-127"/>
              <a:ea typeface="Apple SD Gothic Neo" panose="02000300000000000000" pitchFamily="2" charset="-127"/>
            </a:endParaRPr>
          </a:p>
        </p:txBody>
      </p:sp>
      <p:pic>
        <p:nvPicPr>
          <p:cNvPr id="214" name="그림 213">
            <a:extLst>
              <a:ext uri="{FF2B5EF4-FFF2-40B4-BE49-F238E27FC236}">
                <a16:creationId xmlns:a16="http://schemas.microsoft.com/office/drawing/2014/main" id="{25AE0369-1064-A7B9-370B-53672F58BC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sp>
        <p:nvSpPr>
          <p:cNvPr id="222" name="직사각형 221">
            <a:extLst>
              <a:ext uri="{FF2B5EF4-FFF2-40B4-BE49-F238E27FC236}">
                <a16:creationId xmlns:a16="http://schemas.microsoft.com/office/drawing/2014/main" id="{6084734B-6915-1DC1-7DC7-B60EDF4A693D}"/>
              </a:ext>
            </a:extLst>
          </p:cNvPr>
          <p:cNvSpPr/>
          <p:nvPr/>
        </p:nvSpPr>
        <p:spPr>
          <a:xfrm>
            <a:off x="9754810" y="3111273"/>
            <a:ext cx="1415772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성장목표</a:t>
            </a: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에 기반한 </a:t>
            </a:r>
            <a:br>
              <a:rPr lang="en-US" altLang="ko-KR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</a:b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슬로건 제시</a:t>
            </a:r>
            <a:endParaRPr lang="ko-KR" altLang="en-US" sz="1200" dirty="0">
              <a:solidFill>
                <a:schemeClr val="bg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cxnSp>
        <p:nvCxnSpPr>
          <p:cNvPr id="263" name="직선 연결선[R] 116">
            <a:extLst>
              <a:ext uri="{FF2B5EF4-FFF2-40B4-BE49-F238E27FC236}">
                <a16:creationId xmlns:a16="http://schemas.microsoft.com/office/drawing/2014/main" id="{3459F6A1-7677-4BDE-EB22-5FEB60664FA0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직사각형 263">
            <a:extLst>
              <a:ext uri="{FF2B5EF4-FFF2-40B4-BE49-F238E27FC236}">
                <a16:creationId xmlns:a16="http://schemas.microsoft.com/office/drawing/2014/main" id="{17AA80A4-70A5-BD5A-035F-77461D41D971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265" name="직사각형 264">
            <a:extLst>
              <a:ext uri="{FF2B5EF4-FFF2-40B4-BE49-F238E27FC236}">
                <a16:creationId xmlns:a16="http://schemas.microsoft.com/office/drawing/2014/main" id="{5097744E-8823-4736-C6BC-DA2492C86361}"/>
              </a:ext>
            </a:extLst>
          </p:cNvPr>
          <p:cNvSpPr/>
          <p:nvPr/>
        </p:nvSpPr>
        <p:spPr>
          <a:xfrm>
            <a:off x="11692678" y="5025663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266" name="직사각형 265">
            <a:extLst>
              <a:ext uri="{FF2B5EF4-FFF2-40B4-BE49-F238E27FC236}">
                <a16:creationId xmlns:a16="http://schemas.microsoft.com/office/drawing/2014/main" id="{81C0E06F-4CC2-DD61-C403-47F0E4471632}"/>
              </a:ext>
            </a:extLst>
          </p:cNvPr>
          <p:cNvSpPr/>
          <p:nvPr/>
        </p:nvSpPr>
        <p:spPr>
          <a:xfrm>
            <a:off x="11692678" y="2834264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cxnSp>
        <p:nvCxnSpPr>
          <p:cNvPr id="267" name="직선 연결선[R] 111">
            <a:extLst>
              <a:ext uri="{FF2B5EF4-FFF2-40B4-BE49-F238E27FC236}">
                <a16:creationId xmlns:a16="http://schemas.microsoft.com/office/drawing/2014/main" id="{0EE5AA84-0CED-F4F2-A63E-228E8A271B90}"/>
              </a:ext>
            </a:extLst>
          </p:cNvPr>
          <p:cNvCxnSpPr>
            <a:cxnSpLocks/>
          </p:cNvCxnSpPr>
          <p:nvPr/>
        </p:nvCxnSpPr>
        <p:spPr>
          <a:xfrm>
            <a:off x="11785494" y="2825264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직선 연결선[R] 112">
            <a:extLst>
              <a:ext uri="{FF2B5EF4-FFF2-40B4-BE49-F238E27FC236}">
                <a16:creationId xmlns:a16="http://schemas.microsoft.com/office/drawing/2014/main" id="{5EC28486-6E74-8E40-92FF-DF36FD895F1E}"/>
              </a:ext>
            </a:extLst>
          </p:cNvPr>
          <p:cNvCxnSpPr>
            <a:cxnSpLocks/>
          </p:cNvCxnSpPr>
          <p:nvPr/>
        </p:nvCxnSpPr>
        <p:spPr>
          <a:xfrm>
            <a:off x="11785494" y="5016664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9" name="직사각형 268">
            <a:extLst>
              <a:ext uri="{FF2B5EF4-FFF2-40B4-BE49-F238E27FC236}">
                <a16:creationId xmlns:a16="http://schemas.microsoft.com/office/drawing/2014/main" id="{7FA08A41-3EA1-9BA5-BFF3-36EFCBAA15CB}"/>
              </a:ext>
            </a:extLst>
          </p:cNvPr>
          <p:cNvSpPr/>
          <p:nvPr/>
        </p:nvSpPr>
        <p:spPr>
          <a:xfrm>
            <a:off x="11789546" y="3737999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70" name="직사각형 269">
            <a:extLst>
              <a:ext uri="{FF2B5EF4-FFF2-40B4-BE49-F238E27FC236}">
                <a16:creationId xmlns:a16="http://schemas.microsoft.com/office/drawing/2014/main" id="{9603AC29-7A17-C166-916A-E4D3DF24C403}"/>
              </a:ext>
            </a:extLst>
          </p:cNvPr>
          <p:cNvSpPr/>
          <p:nvPr/>
        </p:nvSpPr>
        <p:spPr>
          <a:xfrm>
            <a:off x="11692678" y="3780360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167FCA8F-9915-19FA-9A70-7F0A2CF9B3FC}"/>
              </a:ext>
            </a:extLst>
          </p:cNvPr>
          <p:cNvSpPr txBox="1"/>
          <p:nvPr/>
        </p:nvSpPr>
        <p:spPr>
          <a:xfrm>
            <a:off x="11829560" y="4005554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3</a:t>
            </a:r>
            <a:endParaRPr kumimoji="1" lang="ko-KR" altLang="en-US" sz="800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72" name="그룹 271">
            <a:extLst>
              <a:ext uri="{FF2B5EF4-FFF2-40B4-BE49-F238E27FC236}">
                <a16:creationId xmlns:a16="http://schemas.microsoft.com/office/drawing/2014/main" id="{6F4D0C81-F00D-6025-84BA-FBF66680121F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273" name="모서리가 둥근 직사각형 94">
              <a:extLst>
                <a:ext uri="{FF2B5EF4-FFF2-40B4-BE49-F238E27FC236}">
                  <a16:creationId xmlns:a16="http://schemas.microsoft.com/office/drawing/2014/main" id="{CAACE28A-CB8E-8492-8E82-DBA8E8C571E1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74" name="모서리가 둥근 직사각형 97">
              <a:extLst>
                <a:ext uri="{FF2B5EF4-FFF2-40B4-BE49-F238E27FC236}">
                  <a16:creationId xmlns:a16="http://schemas.microsoft.com/office/drawing/2014/main" id="{6BBF6337-5EC5-8736-E582-8C2E3BF20758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75" name="모서리가 둥근 직사각형 108">
              <a:extLst>
                <a:ext uri="{FF2B5EF4-FFF2-40B4-BE49-F238E27FC236}">
                  <a16:creationId xmlns:a16="http://schemas.microsoft.com/office/drawing/2014/main" id="{22E48A34-22A3-B2C9-8452-A240DA92BB4E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76" name="모서리가 둥근 직사각형 117">
              <a:extLst>
                <a:ext uri="{FF2B5EF4-FFF2-40B4-BE49-F238E27FC236}">
                  <a16:creationId xmlns:a16="http://schemas.microsoft.com/office/drawing/2014/main" id="{DB5E9905-2C78-7953-1387-4AE1A03CF894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sp>
        <p:nvSpPr>
          <p:cNvPr id="277" name="TextBox 276">
            <a:extLst>
              <a:ext uri="{FF2B5EF4-FFF2-40B4-BE49-F238E27FC236}">
                <a16:creationId xmlns:a16="http://schemas.microsoft.com/office/drawing/2014/main" id="{3BDDE43B-0C88-1525-B255-88A796F642F3}"/>
              </a:ext>
            </a:extLst>
          </p:cNvPr>
          <p:cNvSpPr txBox="1"/>
          <p:nvPr/>
        </p:nvSpPr>
        <p:spPr>
          <a:xfrm>
            <a:off x="10844097" y="392753"/>
            <a:ext cx="98025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900" b="1" dirty="0" err="1">
                <a:solidFill>
                  <a:schemeClr val="accent1">
                    <a:lumMod val="50000"/>
                  </a:schemeClr>
                </a:solidFill>
                <a:latin typeface="APPLE SD GOTHICNEO EXTRABOLD" panose="02000300000000000000" pitchFamily="2" charset="-127"/>
                <a:ea typeface="APPLE SD GOTHICNEO EXTRABOLD" panose="02000300000000000000" pitchFamily="2" charset="-127"/>
              </a:rPr>
              <a:t>대목차</a:t>
            </a:r>
            <a:r>
              <a:rPr kumimoji="1" lang="en-US" altLang="ko-KR" sz="900" b="1" dirty="0">
                <a:solidFill>
                  <a:schemeClr val="accent1">
                    <a:lumMod val="50000"/>
                  </a:schemeClr>
                </a:solidFill>
                <a:latin typeface="APPLE SD GOTHICNEO EXTRABOLD" panose="02000300000000000000" pitchFamily="2" charset="-127"/>
                <a:ea typeface="APPLE SD GOTHICNEO EXTRABOLD" panose="02000300000000000000" pitchFamily="2" charset="-127"/>
              </a:rPr>
              <a:t>3</a:t>
            </a:r>
            <a:endParaRPr kumimoji="1" lang="ko-KR" altLang="en-US" sz="900" b="1" dirty="0">
              <a:solidFill>
                <a:schemeClr val="accent1">
                  <a:lumMod val="50000"/>
                </a:schemeClr>
              </a:solidFill>
              <a:latin typeface="APPLE SD GOTHICNEO EXTRABOLD" panose="02000300000000000000" pitchFamily="2" charset="-127"/>
              <a:ea typeface="APPLE SD GOTHICNEO EXTRABOLD" panose="02000300000000000000" pitchFamily="2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0D1C7013-D16E-B728-003B-4C3C4AA3226C}"/>
              </a:ext>
            </a:extLst>
          </p:cNvPr>
          <p:cNvSpPr/>
          <p:nvPr/>
        </p:nvSpPr>
        <p:spPr>
          <a:xfrm>
            <a:off x="884159" y="1815111"/>
            <a:ext cx="1027692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kumimoji="1" lang="ko-KR" altLang="en-US" dirty="0">
              <a:solidFill>
                <a:schemeClr val="tx1"/>
              </a:solidFill>
            </a:endParaRPr>
          </a:p>
        </p:txBody>
      </p:sp>
      <p:grpSp>
        <p:nvGrpSpPr>
          <p:cNvPr id="10" name="그룹 9">
            <a:extLst>
              <a:ext uri="{FF2B5EF4-FFF2-40B4-BE49-F238E27FC236}">
                <a16:creationId xmlns:a16="http://schemas.microsoft.com/office/drawing/2014/main" id="{FCC8C5DD-63C5-C695-1F03-DBEE40C29560}"/>
              </a:ext>
            </a:extLst>
          </p:cNvPr>
          <p:cNvGrpSpPr/>
          <p:nvPr/>
        </p:nvGrpSpPr>
        <p:grpSpPr>
          <a:xfrm>
            <a:off x="9730738" y="1521984"/>
            <a:ext cx="1537816" cy="91503"/>
            <a:chOff x="9813518" y="1638458"/>
            <a:chExt cx="1416568" cy="84289"/>
          </a:xfrm>
        </p:grpSpPr>
        <p:sp>
          <p:nvSpPr>
            <p:cNvPr id="13" name="오각형[P] 102">
              <a:extLst>
                <a:ext uri="{FF2B5EF4-FFF2-40B4-BE49-F238E27FC236}">
                  <a16:creationId xmlns:a16="http://schemas.microsoft.com/office/drawing/2014/main" id="{C6DA4647-6170-9F71-6017-2B9BD05F213A}"/>
                </a:ext>
              </a:extLst>
            </p:cNvPr>
            <p:cNvSpPr/>
            <p:nvPr/>
          </p:nvSpPr>
          <p:spPr>
            <a:xfrm>
              <a:off x="10168686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" name="오각형[P] 103">
              <a:extLst>
                <a:ext uri="{FF2B5EF4-FFF2-40B4-BE49-F238E27FC236}">
                  <a16:creationId xmlns:a16="http://schemas.microsoft.com/office/drawing/2014/main" id="{A325CE7D-0CCC-EDB3-6A1B-A5E220EBF066}"/>
                </a:ext>
              </a:extLst>
            </p:cNvPr>
            <p:cNvSpPr/>
            <p:nvPr/>
          </p:nvSpPr>
          <p:spPr>
            <a:xfrm>
              <a:off x="9813518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6" name="오각형[P] 104">
              <a:extLst>
                <a:ext uri="{FF2B5EF4-FFF2-40B4-BE49-F238E27FC236}">
                  <a16:creationId xmlns:a16="http://schemas.microsoft.com/office/drawing/2014/main" id="{EB9C5E53-1D8F-91BD-7DC3-E07E3DE092E1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7" name="오각형[P] 105">
              <a:extLst>
                <a:ext uri="{FF2B5EF4-FFF2-40B4-BE49-F238E27FC236}">
                  <a16:creationId xmlns:a16="http://schemas.microsoft.com/office/drawing/2014/main" id="{CBAF47EB-9348-5C07-2B5A-E1772519A53C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00E869DB-D771-8939-4F31-6F3E748CA91A}"/>
              </a:ext>
            </a:extLst>
          </p:cNvPr>
          <p:cNvSpPr txBox="1"/>
          <p:nvPr/>
        </p:nvSpPr>
        <p:spPr>
          <a:xfrm>
            <a:off x="1606540" y="450119"/>
            <a:ext cx="31285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000" b="1" dirty="0"/>
              <a:t>Zero-shot learning</a:t>
            </a:r>
            <a:endParaRPr kumimoji="1" lang="ko-KR" altLang="en-US" sz="2000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B20262-851B-8B45-E45D-2AE0C699247F}"/>
              </a:ext>
            </a:extLst>
          </p:cNvPr>
          <p:cNvSpPr txBox="1"/>
          <p:nvPr/>
        </p:nvSpPr>
        <p:spPr>
          <a:xfrm>
            <a:off x="999438" y="2093793"/>
            <a:ext cx="95671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이를 통해 학습 시 관측된 데이터가 없는 클래스 값이더라도 </a:t>
            </a:r>
            <a:r>
              <a:rPr lang="en-US" altLang="ko-KR" dirty="0"/>
              <a:t>, embedding </a:t>
            </a:r>
            <a:r>
              <a:rPr lang="ko-KR" altLang="en-US" dirty="0"/>
              <a:t>값을 학습해 라벨 예측을 할 수 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pic>
        <p:nvPicPr>
          <p:cNvPr id="9" name="그림 8" descr="텍스트, 스크린샷, 디자인이(가) 표시된 사진&#10;&#10;자동 생성된 설명">
            <a:extLst>
              <a:ext uri="{FF2B5EF4-FFF2-40B4-BE49-F238E27FC236}">
                <a16:creationId xmlns:a16="http://schemas.microsoft.com/office/drawing/2014/main" id="{7A55EF14-A499-323A-AA17-BBAB105C06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97330" y="2877815"/>
            <a:ext cx="7996536" cy="3478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7059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DDAFD6-1C73-0B07-D393-A880C270FA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BEF28DE5-8FD9-3008-9453-D689CE0BEDEB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6D4B97BE-FD75-ACD8-FE97-CA6EE8B3BEF4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04661A79-F703-384A-538B-4276451E5E19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A12050AE-7F87-5E96-E92C-BA5ED414CD8A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A15986E0-E0D5-5377-A464-1BFA6F51B379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0ED6B613-CA6D-BA6B-4170-64B18E24C036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478840E5-DCE6-B44A-C819-118E14D818CE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672D52AF-765B-BBEB-A3D0-8E716E17A1CA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F510A67D-05C3-E70D-5438-A66573AC6BF5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47B59860-94D2-A151-B476-1902F4897C9E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9EB56932-ED35-B926-294B-5EC1B0C61BAF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A454B687-9F95-070F-D90B-91BF1C9E8C8B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DC11EDC2-8C6C-E546-F2D1-18150B61D132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E473C25B-7FF2-BDC2-C746-A1DAC40AE247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1420AB54-B698-E527-F87D-1F8F656AE851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6E594BB4-EA9D-BBED-A06A-66A389363742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56823A4C-25CC-9065-0E96-42E9D6A65DA8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CD90D7F1-D48D-6396-FFC8-5F53C90BD1C3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766B7C87-88C6-8465-CFCA-EA587C118904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1B92C327-2D64-26EC-661C-DD268F050B96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699ED4AF-7CFA-76FF-1F0B-0256A9061F48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D0242BDC-0C25-549F-CAED-4AE8D982CA5C}"/>
              </a:ext>
            </a:extLst>
          </p:cNvPr>
          <p:cNvSpPr/>
          <p:nvPr/>
        </p:nvSpPr>
        <p:spPr>
          <a:xfrm>
            <a:off x="945747" y="46331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8DE5E693-D705-6EA9-27F4-ABA505F3C904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B0642319-DF39-B324-4C35-33D83FBADE9D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3FCBD4E-F5D6-A58F-C5C9-36AD8C7E92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1D8BF30F-F6A8-1EE0-E26F-8A385DE5236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EBBFA406-0C3C-ECD3-B537-2EBE26578518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DB5AC66C-CE2D-E1B7-0E90-10DAEE5DA3F0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EB2823E2-5435-8B47-BC0D-E2F91CFBC973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26DD1B27-3F65-940E-2219-2B9BCF6291DA}"/>
              </a:ext>
            </a:extLst>
          </p:cNvPr>
          <p:cNvSpPr txBox="1"/>
          <p:nvPr/>
        </p:nvSpPr>
        <p:spPr>
          <a:xfrm>
            <a:off x="980876" y="380426"/>
            <a:ext cx="601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2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A81D93B3-2EA5-9E59-657F-F0980192AEC3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105CE463-9EE5-C4A0-6334-0303CD6BD94B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88B2EF66-A87D-4D35-840D-F2AD4D386E52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82AB1BB4-CED2-F7E1-FB29-5B24F2BFAA55}"/>
              </a:ext>
            </a:extLst>
          </p:cNvPr>
          <p:cNvSpPr txBox="1"/>
          <p:nvPr/>
        </p:nvSpPr>
        <p:spPr>
          <a:xfrm>
            <a:off x="968492" y="1450480"/>
            <a:ext cx="5843909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3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적용 예시</a:t>
            </a:r>
          </a:p>
        </p:txBody>
      </p: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92D923D1-2959-85D0-EBBA-77A1167C24E4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487E1B9D-F373-39D2-EFBA-A1446B5E4EC3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750F8FC0-3AA4-4E3F-B155-5CF6108EF062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2D823962-ED4E-89A6-EDB0-0AD8D68C57F4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32CDAFAB-8929-F2A3-E723-2B094B7D6FEE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39F58666-CE83-F27A-ED5A-84F283F50C1E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CF289F28-7F56-E662-EF0A-3023D5483245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767910D0-1DB6-2DCA-17A6-DEB98BA07E3F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7A81E10D-6F6F-BB52-213A-910C49F13644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64731ADE-57B7-31D0-B5F5-7FCDC1B0A2BF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669C38D3-4D63-8E88-BACF-7B1716B53307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D9A6B020-09C4-65AE-60FD-6B1A351C85BC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7F5DD415-02A7-5175-765C-D73DF0327FCA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4054377B-0377-FBBB-81C2-8E124A1C3716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F199CD1D-927C-4C0B-92C2-3FFC4FC6C362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77106BF2-DB13-C527-A90D-2EC59E8B19FD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E57B48CD-E85C-3B32-82D3-0F546BAFF5C0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208290C4-24BA-9E70-7877-9553D9692BD5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E9352928-0589-B296-0F28-C6816A0A5AE4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9B3296CD-EA4F-FCAE-6651-58DB5DFCDF7A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0E9BEC81-8956-10E8-C8D0-6CA6455C775D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FD0B5E50-7E8D-B7A1-5265-70C70023B7E8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1F001E6F-695A-FDEF-DA3C-E92397C07C54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3F65FDB4-E085-61D8-EFB0-90F979C8DDA8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276575D0-FC02-0D4D-CA01-ACBFF97ED8D0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626273C6-DDDD-1511-A9CF-67406A9B5592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C367F04D-BEC1-A8D4-C93D-0B4864A58188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A30B1687-3FAF-C28B-30E0-C29710A6E686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968D5604-6112-2556-2DF3-44F10A2B2F86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02393A57-BD6E-7619-2F48-B2DD046B4108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292348BC-2F7D-75B7-D676-C49039C4166F}"/>
              </a:ext>
            </a:extLst>
          </p:cNvPr>
          <p:cNvSpPr txBox="1"/>
          <p:nvPr/>
        </p:nvSpPr>
        <p:spPr>
          <a:xfrm>
            <a:off x="884159" y="128224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b="1" dirty="0">
                <a:solidFill>
                  <a:schemeClr val="accent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PPT </a:t>
            </a:r>
            <a:r>
              <a:rPr kumimoji="1" lang="ko-KR" altLang="en-US" sz="1050" b="1" dirty="0">
                <a:solidFill>
                  <a:schemeClr val="accent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템플릿 공모전</a:t>
            </a:r>
          </a:p>
        </p:txBody>
      </p: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6E8DE0F2-B618-88BE-D264-C52150C4857A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3" name="바닥글 개체 틀 2">
            <a:extLst>
              <a:ext uri="{FF2B5EF4-FFF2-40B4-BE49-F238E27FC236}">
                <a16:creationId xmlns:a16="http://schemas.microsoft.com/office/drawing/2014/main" id="{846059B1-12B7-710B-05B5-17BE65AF8B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54706" y="6492875"/>
            <a:ext cx="4526280" cy="365125"/>
          </a:xfrm>
        </p:spPr>
        <p:txBody>
          <a:bodyPr/>
          <a:lstStyle/>
          <a:p>
            <a:r>
              <a:rPr lang="en-US" altLang="ko-KR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- 7/8</a:t>
            </a:r>
            <a:r>
              <a:rPr lang="ko-KR" altLang="en-US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 </a:t>
            </a:r>
            <a:r>
              <a:rPr lang="en-US" altLang="ko-KR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-</a:t>
            </a:r>
            <a:endParaRPr lang="ko-KR" altLang="en-US" sz="1100" dirty="0">
              <a:latin typeface="Apple SD Gothic Neo" panose="02000300000000000000" pitchFamily="2" charset="-127"/>
              <a:ea typeface="Apple SD Gothic Neo" panose="02000300000000000000" pitchFamily="2" charset="-127"/>
            </a:endParaRPr>
          </a:p>
        </p:txBody>
      </p:sp>
      <p:pic>
        <p:nvPicPr>
          <p:cNvPr id="214" name="그림 213">
            <a:extLst>
              <a:ext uri="{FF2B5EF4-FFF2-40B4-BE49-F238E27FC236}">
                <a16:creationId xmlns:a16="http://schemas.microsoft.com/office/drawing/2014/main" id="{9D3E1C7F-1775-BC57-902D-B51DB0AEE5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cxnSp>
        <p:nvCxnSpPr>
          <p:cNvPr id="193" name="직선 연결선 57">
            <a:extLst>
              <a:ext uri="{FF2B5EF4-FFF2-40B4-BE49-F238E27FC236}">
                <a16:creationId xmlns:a16="http://schemas.microsoft.com/office/drawing/2014/main" id="{F509C2A0-6DB7-AE1E-4718-1FEBD2B98253}"/>
              </a:ext>
            </a:extLst>
          </p:cNvPr>
          <p:cNvCxnSpPr/>
          <p:nvPr/>
        </p:nvCxnSpPr>
        <p:spPr>
          <a:xfrm>
            <a:off x="7419444" y="2542011"/>
            <a:ext cx="0" cy="2918158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2" name="그래픽 181" descr="자물쇠 단색으로 채워진">
            <a:extLst>
              <a:ext uri="{FF2B5EF4-FFF2-40B4-BE49-F238E27FC236}">
                <a16:creationId xmlns:a16="http://schemas.microsoft.com/office/drawing/2014/main" id="{CD2547AB-1AE2-7F2E-F5F1-A7729527886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34276" y="4558128"/>
            <a:ext cx="362000" cy="362000"/>
          </a:xfrm>
          <a:prstGeom prst="rect">
            <a:avLst/>
          </a:prstGeom>
        </p:spPr>
      </p:pic>
      <p:pic>
        <p:nvPicPr>
          <p:cNvPr id="192" name="그래픽 191" descr="서적 단색으로 채워진">
            <a:extLst>
              <a:ext uri="{FF2B5EF4-FFF2-40B4-BE49-F238E27FC236}">
                <a16:creationId xmlns:a16="http://schemas.microsoft.com/office/drawing/2014/main" id="{CCCC3A16-F36F-E296-A241-D5BFB4289EA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85041" y="2352177"/>
            <a:ext cx="267017" cy="267017"/>
          </a:xfrm>
          <a:prstGeom prst="rect">
            <a:avLst/>
          </a:prstGeom>
        </p:spPr>
      </p:pic>
      <p:cxnSp>
        <p:nvCxnSpPr>
          <p:cNvPr id="208" name="직선 연결선[R] 116">
            <a:extLst>
              <a:ext uri="{FF2B5EF4-FFF2-40B4-BE49-F238E27FC236}">
                <a16:creationId xmlns:a16="http://schemas.microsoft.com/office/drawing/2014/main" id="{EB0F9229-ED98-63C7-A0CA-8C9C819CB09C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직사각형 216">
            <a:extLst>
              <a:ext uri="{FF2B5EF4-FFF2-40B4-BE49-F238E27FC236}">
                <a16:creationId xmlns:a16="http://schemas.microsoft.com/office/drawing/2014/main" id="{A30F06BC-9424-30CD-CF1F-A0342368D8E5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219" name="직사각형 218">
            <a:extLst>
              <a:ext uri="{FF2B5EF4-FFF2-40B4-BE49-F238E27FC236}">
                <a16:creationId xmlns:a16="http://schemas.microsoft.com/office/drawing/2014/main" id="{3CB790B5-8725-3425-A3FB-95FBD0D8FCF0}"/>
              </a:ext>
            </a:extLst>
          </p:cNvPr>
          <p:cNvSpPr/>
          <p:nvPr/>
        </p:nvSpPr>
        <p:spPr>
          <a:xfrm>
            <a:off x="11692678" y="3768053"/>
            <a:ext cx="48554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  <a:p>
            <a:pPr algn="ctr"/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226" name="직사각형 225">
            <a:extLst>
              <a:ext uri="{FF2B5EF4-FFF2-40B4-BE49-F238E27FC236}">
                <a16:creationId xmlns:a16="http://schemas.microsoft.com/office/drawing/2014/main" id="{4F0D7B63-45C5-821E-AEBB-2E2C8DFB97B9}"/>
              </a:ext>
            </a:extLst>
          </p:cNvPr>
          <p:cNvSpPr/>
          <p:nvPr/>
        </p:nvSpPr>
        <p:spPr>
          <a:xfrm>
            <a:off x="11692678" y="2834264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cxnSp>
        <p:nvCxnSpPr>
          <p:cNvPr id="248" name="직선 연결선[R] 111">
            <a:extLst>
              <a:ext uri="{FF2B5EF4-FFF2-40B4-BE49-F238E27FC236}">
                <a16:creationId xmlns:a16="http://schemas.microsoft.com/office/drawing/2014/main" id="{8297C021-E7C7-2CE5-578E-9BA35849D58D}"/>
              </a:ext>
            </a:extLst>
          </p:cNvPr>
          <p:cNvCxnSpPr>
            <a:cxnSpLocks/>
          </p:cNvCxnSpPr>
          <p:nvPr/>
        </p:nvCxnSpPr>
        <p:spPr>
          <a:xfrm>
            <a:off x="11785494" y="2825264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직선 연결선[R] 112">
            <a:extLst>
              <a:ext uri="{FF2B5EF4-FFF2-40B4-BE49-F238E27FC236}">
                <a16:creationId xmlns:a16="http://schemas.microsoft.com/office/drawing/2014/main" id="{B82B9B81-22B4-439E-3132-0AB857709596}"/>
              </a:ext>
            </a:extLst>
          </p:cNvPr>
          <p:cNvCxnSpPr>
            <a:cxnSpLocks/>
          </p:cNvCxnSpPr>
          <p:nvPr/>
        </p:nvCxnSpPr>
        <p:spPr>
          <a:xfrm>
            <a:off x="11785494" y="3759054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3" name="직사각형 262">
            <a:extLst>
              <a:ext uri="{FF2B5EF4-FFF2-40B4-BE49-F238E27FC236}">
                <a16:creationId xmlns:a16="http://schemas.microsoft.com/office/drawing/2014/main" id="{C9D64B58-E42E-FC3D-8744-9D68F88AB24A}"/>
              </a:ext>
            </a:extLst>
          </p:cNvPr>
          <p:cNvSpPr/>
          <p:nvPr/>
        </p:nvSpPr>
        <p:spPr>
          <a:xfrm>
            <a:off x="11789546" y="4763042"/>
            <a:ext cx="402454" cy="1207161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F427BC74-FAA6-2F7A-878A-0EACE4990957}"/>
              </a:ext>
            </a:extLst>
          </p:cNvPr>
          <p:cNvSpPr txBox="1"/>
          <p:nvPr/>
        </p:nvSpPr>
        <p:spPr>
          <a:xfrm>
            <a:off x="11829560" y="5017150"/>
            <a:ext cx="2160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별첨</a:t>
            </a:r>
            <a:endParaRPr kumimoji="1" lang="en-US" altLang="ko-KR" sz="800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65" name="직사각형 264">
            <a:extLst>
              <a:ext uri="{FF2B5EF4-FFF2-40B4-BE49-F238E27FC236}">
                <a16:creationId xmlns:a16="http://schemas.microsoft.com/office/drawing/2014/main" id="{51E7A8BC-FC99-F8D1-26BE-62119F20AF5C}"/>
              </a:ext>
            </a:extLst>
          </p:cNvPr>
          <p:cNvSpPr/>
          <p:nvPr/>
        </p:nvSpPr>
        <p:spPr>
          <a:xfrm>
            <a:off x="11692678" y="4805403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</a:p>
        </p:txBody>
      </p:sp>
      <p:grpSp>
        <p:nvGrpSpPr>
          <p:cNvPr id="266" name="그룹 265">
            <a:extLst>
              <a:ext uri="{FF2B5EF4-FFF2-40B4-BE49-F238E27FC236}">
                <a16:creationId xmlns:a16="http://schemas.microsoft.com/office/drawing/2014/main" id="{17B95389-CA8C-2030-B6FE-E32532AB8EB1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267" name="모서리가 둥근 직사각형 94">
              <a:extLst>
                <a:ext uri="{FF2B5EF4-FFF2-40B4-BE49-F238E27FC236}">
                  <a16:creationId xmlns:a16="http://schemas.microsoft.com/office/drawing/2014/main" id="{BD29A0F1-4391-64E4-2672-0A6877A1B874}"/>
                </a:ext>
              </a:extLst>
            </p:cNvPr>
            <p:cNvSpPr/>
            <p:nvPr/>
          </p:nvSpPr>
          <p:spPr>
            <a:xfrm>
              <a:off x="11264183" y="271844"/>
              <a:ext cx="236540" cy="133554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/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68" name="모서리가 둥근 직사각형 97">
              <a:extLst>
                <a:ext uri="{FF2B5EF4-FFF2-40B4-BE49-F238E27FC236}">
                  <a16:creationId xmlns:a16="http://schemas.microsoft.com/office/drawing/2014/main" id="{95586CF8-5418-D1A8-5FD4-1768AB18DDA8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69" name="모서리가 둥근 직사각형 108">
              <a:extLst>
                <a:ext uri="{FF2B5EF4-FFF2-40B4-BE49-F238E27FC236}">
                  <a16:creationId xmlns:a16="http://schemas.microsoft.com/office/drawing/2014/main" id="{8A54D71E-2404-B905-F917-C35B09BE90A9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70" name="모서리가 둥근 직사각형 117">
              <a:extLst>
                <a:ext uri="{FF2B5EF4-FFF2-40B4-BE49-F238E27FC236}">
                  <a16:creationId xmlns:a16="http://schemas.microsoft.com/office/drawing/2014/main" id="{92781577-D969-47FB-758F-F3CFD776B328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sp>
        <p:nvSpPr>
          <p:cNvPr id="271" name="TextBox 270">
            <a:extLst>
              <a:ext uri="{FF2B5EF4-FFF2-40B4-BE49-F238E27FC236}">
                <a16:creationId xmlns:a16="http://schemas.microsoft.com/office/drawing/2014/main" id="{07CDE774-1133-EE00-E80A-997E9EFFD3AE}"/>
              </a:ext>
            </a:extLst>
          </p:cNvPr>
          <p:cNvSpPr txBox="1"/>
          <p:nvPr/>
        </p:nvSpPr>
        <p:spPr>
          <a:xfrm>
            <a:off x="11279467" y="392753"/>
            <a:ext cx="65155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900" b="1" dirty="0">
                <a:solidFill>
                  <a:schemeClr val="accent1">
                    <a:lumMod val="50000"/>
                  </a:schemeClr>
                </a:solidFill>
                <a:latin typeface="APPLE SD GOTHICNEO EXTRABOLD" panose="02000300000000000000" pitchFamily="2" charset="-127"/>
                <a:ea typeface="APPLE SD GOTHICNEO EXTRABOLD" panose="02000300000000000000" pitchFamily="2" charset="-127"/>
              </a:rPr>
              <a:t>별첨</a:t>
            </a: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8774CC87-39BF-BA1A-5742-5BBBF935B518}"/>
              </a:ext>
            </a:extLst>
          </p:cNvPr>
          <p:cNvSpPr/>
          <p:nvPr/>
        </p:nvSpPr>
        <p:spPr>
          <a:xfrm>
            <a:off x="899309" y="1856131"/>
            <a:ext cx="1027692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i="0" dirty="0">
                <a:solidFill>
                  <a:schemeClr val="tx1"/>
                </a:solidFill>
                <a:effectLst/>
                <a:latin typeface="-apple-system"/>
              </a:rPr>
              <a:t>“frontal </a:t>
            </a:r>
            <a:r>
              <a:rPr lang="ko-KR" altLang="en-US" b="1" i="0" dirty="0">
                <a:solidFill>
                  <a:schemeClr val="tx1"/>
                </a:solidFill>
                <a:effectLst/>
                <a:latin typeface="-apple-system"/>
              </a:rPr>
              <a:t>이미지 에서의 </a:t>
            </a:r>
            <a:r>
              <a:rPr lang="en-US" altLang="ko-KR" b="1" i="0" dirty="0" err="1">
                <a:solidFill>
                  <a:schemeClr val="tx1"/>
                </a:solidFill>
                <a:effectLst/>
                <a:latin typeface="-apple-system"/>
              </a:rPr>
              <a:t>resnet</a:t>
            </a:r>
            <a:r>
              <a:rPr lang="ko-KR" altLang="en-US" b="1" i="0" dirty="0">
                <a:solidFill>
                  <a:schemeClr val="tx1"/>
                </a:solidFill>
                <a:effectLst/>
                <a:latin typeface="-apple-system"/>
              </a:rPr>
              <a:t>으로 돌리고 성능 지표 분석</a:t>
            </a:r>
            <a:r>
              <a:rPr lang="en-US" altLang="ko-KR" b="1" i="0" dirty="0">
                <a:solidFill>
                  <a:schemeClr val="tx1"/>
                </a:solidFill>
                <a:effectLst/>
                <a:latin typeface="-apple-system"/>
              </a:rPr>
              <a:t>”</a:t>
            </a:r>
            <a:r>
              <a:rPr lang="ko-KR" altLang="en-US" b="1" i="0" dirty="0">
                <a:solidFill>
                  <a:schemeClr val="tx1"/>
                </a:solidFill>
                <a:effectLst/>
                <a:latin typeface="-apple-system"/>
              </a:rPr>
              <a:t>에서 </a:t>
            </a:r>
            <a:r>
              <a:rPr lang="ko-KR" altLang="en-US" b="1" i="0" dirty="0">
                <a:solidFill>
                  <a:schemeClr val="tx1"/>
                </a:solidFill>
                <a:effectLst/>
                <a:latin typeface="system-ui"/>
              </a:rPr>
              <a:t>병합된 데이터에서 이진 레이블을 생성</a:t>
            </a:r>
          </a:p>
          <a:p>
            <a:pPr algn="ctr"/>
            <a:r>
              <a:rPr lang="ko-KR" altLang="en-US" b="1" i="0" dirty="0" err="1">
                <a:solidFill>
                  <a:schemeClr val="tx1"/>
                </a:solidFill>
                <a:effectLst/>
                <a:latin typeface="-apple-system"/>
              </a:rPr>
              <a:t>단계때</a:t>
            </a:r>
            <a:r>
              <a:rPr lang="ko-KR" altLang="en-US" b="1" i="0" dirty="0">
                <a:solidFill>
                  <a:schemeClr val="tx1"/>
                </a:solidFill>
                <a:effectLst/>
                <a:latin typeface="-apple-system"/>
              </a:rPr>
              <a:t> </a:t>
            </a:r>
            <a:r>
              <a:rPr lang="en-US" altLang="ko-KR" b="1" i="0" dirty="0">
                <a:solidFill>
                  <a:schemeClr val="tx1"/>
                </a:solidFill>
                <a:effectLst/>
                <a:latin typeface="system-ui"/>
              </a:rPr>
              <a:t>normal'</a:t>
            </a:r>
            <a:r>
              <a:rPr lang="ko-KR" altLang="en-US" b="1" i="0" dirty="0">
                <a:solidFill>
                  <a:schemeClr val="tx1"/>
                </a:solidFill>
                <a:effectLst/>
                <a:latin typeface="system-ui"/>
              </a:rPr>
              <a:t>인 경우에는 </a:t>
            </a:r>
            <a:r>
              <a:rPr lang="en-US" altLang="ko-KR" b="1" i="0" dirty="0">
                <a:solidFill>
                  <a:schemeClr val="tx1"/>
                </a:solidFill>
                <a:effectLst/>
                <a:latin typeface="system-ui"/>
              </a:rPr>
              <a:t>0</a:t>
            </a:r>
            <a:r>
              <a:rPr lang="ko-KR" altLang="en-US" b="1" i="0" dirty="0">
                <a:solidFill>
                  <a:schemeClr val="tx1"/>
                </a:solidFill>
                <a:effectLst/>
                <a:latin typeface="system-ui"/>
              </a:rPr>
              <a:t>을</a:t>
            </a:r>
            <a:r>
              <a:rPr lang="en-US" altLang="ko-KR" b="1" i="0" dirty="0">
                <a:solidFill>
                  <a:schemeClr val="tx1"/>
                </a:solidFill>
                <a:effectLst/>
                <a:latin typeface="system-ui"/>
              </a:rPr>
              <a:t>, </a:t>
            </a:r>
            <a:r>
              <a:rPr lang="ko-KR" altLang="en-US" b="1" i="0" dirty="0">
                <a:solidFill>
                  <a:schemeClr val="tx1"/>
                </a:solidFill>
                <a:effectLst/>
                <a:latin typeface="system-ui"/>
              </a:rPr>
              <a:t>그 외의 값에는 </a:t>
            </a:r>
            <a:r>
              <a:rPr lang="en-US" altLang="ko-KR" b="1" i="0" dirty="0">
                <a:solidFill>
                  <a:schemeClr val="tx1"/>
                </a:solidFill>
                <a:effectLst/>
                <a:latin typeface="system-ui"/>
              </a:rPr>
              <a:t>1</a:t>
            </a:r>
            <a:r>
              <a:rPr lang="ko-KR" altLang="en-US" b="1" i="0" dirty="0">
                <a:solidFill>
                  <a:schemeClr val="tx1"/>
                </a:solidFill>
                <a:effectLst/>
                <a:latin typeface="system-ui"/>
              </a:rPr>
              <a:t>을 할당 </a:t>
            </a:r>
            <a:r>
              <a:rPr lang="en-US" altLang="ko-KR" b="1" i="0" dirty="0">
                <a:solidFill>
                  <a:schemeClr val="tx1"/>
                </a:solidFill>
                <a:effectLst/>
                <a:latin typeface="system-ui"/>
              </a:rPr>
              <a:t>-&gt;</a:t>
            </a:r>
            <a:r>
              <a:rPr lang="ko-KR" altLang="en-US" b="1" i="0" dirty="0">
                <a:solidFill>
                  <a:schemeClr val="tx1"/>
                </a:solidFill>
                <a:effectLst/>
                <a:latin typeface="system-ui"/>
              </a:rPr>
              <a:t> </a:t>
            </a:r>
            <a:r>
              <a:rPr lang="en-US" altLang="ko-KR" b="1" dirty="0">
                <a:solidFill>
                  <a:schemeClr val="tx1"/>
                </a:solidFill>
                <a:latin typeface="system-ui"/>
              </a:rPr>
              <a:t>zero-shot</a:t>
            </a:r>
            <a:r>
              <a:rPr lang="ko-KR" altLang="en-US" b="1" dirty="0">
                <a:solidFill>
                  <a:schemeClr val="tx1"/>
                </a:solidFill>
                <a:latin typeface="system-ui"/>
              </a:rPr>
              <a:t> </a:t>
            </a:r>
            <a:r>
              <a:rPr lang="en-US" altLang="ko-KR" b="1" dirty="0">
                <a:solidFill>
                  <a:schemeClr val="tx1"/>
                </a:solidFill>
                <a:latin typeface="system-ui"/>
              </a:rPr>
              <a:t>learning</a:t>
            </a:r>
            <a:r>
              <a:rPr lang="ko-KR" altLang="en-US" b="1" dirty="0">
                <a:solidFill>
                  <a:schemeClr val="tx1"/>
                </a:solidFill>
                <a:latin typeface="system-ui"/>
              </a:rPr>
              <a:t>로 대체 가능</a:t>
            </a:r>
            <a:endParaRPr lang="ko-KR" altLang="en-US" b="1" i="0" dirty="0">
              <a:solidFill>
                <a:schemeClr val="tx1"/>
              </a:solidFill>
              <a:effectLst/>
              <a:latin typeface="system-ui"/>
            </a:endParaRPr>
          </a:p>
          <a:p>
            <a:pPr algn="ctr"/>
            <a:endParaRPr lang="en-US" altLang="ko-KR" b="1" i="0" dirty="0">
              <a:solidFill>
                <a:schemeClr val="tx1"/>
              </a:solidFill>
              <a:effectLst/>
              <a:latin typeface="-apple-system"/>
            </a:endParaRPr>
          </a:p>
        </p:txBody>
      </p:sp>
      <p:grpSp>
        <p:nvGrpSpPr>
          <p:cNvPr id="4" name="그룹 3">
            <a:extLst>
              <a:ext uri="{FF2B5EF4-FFF2-40B4-BE49-F238E27FC236}">
                <a16:creationId xmlns:a16="http://schemas.microsoft.com/office/drawing/2014/main" id="{DED68CB6-EFC1-D91D-56C4-45A1DDC7AEB5}"/>
              </a:ext>
            </a:extLst>
          </p:cNvPr>
          <p:cNvGrpSpPr/>
          <p:nvPr/>
        </p:nvGrpSpPr>
        <p:grpSpPr>
          <a:xfrm>
            <a:off x="9730738" y="1521984"/>
            <a:ext cx="1537816" cy="91503"/>
            <a:chOff x="9813518" y="1638458"/>
            <a:chExt cx="1416568" cy="84289"/>
          </a:xfrm>
        </p:grpSpPr>
        <p:sp>
          <p:nvSpPr>
            <p:cNvPr id="5" name="오각형[P] 102">
              <a:extLst>
                <a:ext uri="{FF2B5EF4-FFF2-40B4-BE49-F238E27FC236}">
                  <a16:creationId xmlns:a16="http://schemas.microsoft.com/office/drawing/2014/main" id="{F3E09213-489E-CE27-1FA2-1D1F99C1BC83}"/>
                </a:ext>
              </a:extLst>
            </p:cNvPr>
            <p:cNvSpPr/>
            <p:nvPr/>
          </p:nvSpPr>
          <p:spPr>
            <a:xfrm>
              <a:off x="10168686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" name="오각형[P] 103">
              <a:extLst>
                <a:ext uri="{FF2B5EF4-FFF2-40B4-BE49-F238E27FC236}">
                  <a16:creationId xmlns:a16="http://schemas.microsoft.com/office/drawing/2014/main" id="{E3616CD2-DDEE-6974-0AAB-FF167AFD5B6B}"/>
                </a:ext>
              </a:extLst>
            </p:cNvPr>
            <p:cNvSpPr/>
            <p:nvPr/>
          </p:nvSpPr>
          <p:spPr>
            <a:xfrm>
              <a:off x="9813518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8" name="오각형[P] 104">
              <a:extLst>
                <a:ext uri="{FF2B5EF4-FFF2-40B4-BE49-F238E27FC236}">
                  <a16:creationId xmlns:a16="http://schemas.microsoft.com/office/drawing/2014/main" id="{8ED23CF8-8EEB-B138-0BA2-5ECB3421A697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9" name="오각형[P] 105">
              <a:extLst>
                <a:ext uri="{FF2B5EF4-FFF2-40B4-BE49-F238E27FC236}">
                  <a16:creationId xmlns:a16="http://schemas.microsoft.com/office/drawing/2014/main" id="{3DB3EC90-A5A3-EB2B-A396-D2CA878D8908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B4B43F96-1342-4008-6BEF-C3ECE435EF84}"/>
              </a:ext>
            </a:extLst>
          </p:cNvPr>
          <p:cNvSpPr txBox="1"/>
          <p:nvPr/>
        </p:nvSpPr>
        <p:spPr>
          <a:xfrm>
            <a:off x="1644468" y="416030"/>
            <a:ext cx="31285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000" b="1" dirty="0"/>
              <a:t>Zero-shot learning</a:t>
            </a:r>
            <a:endParaRPr kumimoji="1" lang="ko-KR" alt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1076251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직사각형 3">
            <a:extLst>
              <a:ext uri="{FF2B5EF4-FFF2-40B4-BE49-F238E27FC236}">
                <a16:creationId xmlns:a16="http://schemas.microsoft.com/office/drawing/2014/main" id="{AA348D11-4335-4BFC-AAFD-A5760534274D}"/>
              </a:ext>
            </a:extLst>
          </p:cNvPr>
          <p:cNvSpPr/>
          <p:nvPr/>
        </p:nvSpPr>
        <p:spPr>
          <a:xfrm>
            <a:off x="464820" y="381000"/>
            <a:ext cx="11262360" cy="6141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3" name="그림 22">
            <a:extLst>
              <a:ext uri="{FF2B5EF4-FFF2-40B4-BE49-F238E27FC236}">
                <a16:creationId xmlns:a16="http://schemas.microsoft.com/office/drawing/2014/main" id="{8914FB35-D197-44DA-8E5E-E5BDF5D4F645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8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0" y="1"/>
            <a:ext cx="12192000" cy="4011078"/>
          </a:xfrm>
          <a:custGeom>
            <a:avLst/>
            <a:gdLst>
              <a:gd name="connsiteX0" fmla="*/ 0 w 12192000"/>
              <a:gd name="connsiteY0" fmla="*/ 0 h 4011078"/>
              <a:gd name="connsiteX1" fmla="*/ 12192000 w 12192000"/>
              <a:gd name="connsiteY1" fmla="*/ 0 h 4011078"/>
              <a:gd name="connsiteX2" fmla="*/ 12192000 w 12192000"/>
              <a:gd name="connsiteY2" fmla="*/ 3428999 h 4011078"/>
              <a:gd name="connsiteX3" fmla="*/ 10857053 w 12192000"/>
              <a:gd name="connsiteY3" fmla="*/ 3428999 h 4011078"/>
              <a:gd name="connsiteX4" fmla="*/ 10857053 w 12192000"/>
              <a:gd name="connsiteY4" fmla="*/ 4011078 h 4011078"/>
              <a:gd name="connsiteX5" fmla="*/ 6373268 w 12192000"/>
              <a:gd name="connsiteY5" fmla="*/ 4011078 h 4011078"/>
              <a:gd name="connsiteX6" fmla="*/ 3268745 w 12192000"/>
              <a:gd name="connsiteY6" fmla="*/ 2531436 h 4011078"/>
              <a:gd name="connsiteX7" fmla="*/ 164221 w 12192000"/>
              <a:gd name="connsiteY7" fmla="*/ 4011078 h 4011078"/>
              <a:gd name="connsiteX8" fmla="*/ 0 w 12192000"/>
              <a:gd name="connsiteY8" fmla="*/ 4011078 h 4011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4011078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10857053" y="3428999"/>
                </a:lnTo>
                <a:lnTo>
                  <a:pt x="10857053" y="4011078"/>
                </a:lnTo>
                <a:lnTo>
                  <a:pt x="6373268" y="4011078"/>
                </a:lnTo>
                <a:lnTo>
                  <a:pt x="3268745" y="2531436"/>
                </a:lnTo>
                <a:lnTo>
                  <a:pt x="164221" y="4011078"/>
                </a:lnTo>
                <a:lnTo>
                  <a:pt x="0" y="4011078"/>
                </a:lnTo>
                <a:close/>
              </a:path>
            </a:pathLst>
          </a:custGeom>
        </p:spPr>
      </p:pic>
      <p:sp>
        <p:nvSpPr>
          <p:cNvPr id="13" name="평행 사변형 12">
            <a:extLst>
              <a:ext uri="{FF2B5EF4-FFF2-40B4-BE49-F238E27FC236}">
                <a16:creationId xmlns:a16="http://schemas.microsoft.com/office/drawing/2014/main" id="{CA1EBD39-6C4C-4828-8916-96442473B53E}"/>
              </a:ext>
            </a:extLst>
          </p:cNvPr>
          <p:cNvSpPr/>
          <p:nvPr/>
        </p:nvSpPr>
        <p:spPr>
          <a:xfrm rot="7616888" flipV="1">
            <a:off x="4352666" y="921529"/>
            <a:ext cx="2076970" cy="4306279"/>
          </a:xfrm>
          <a:custGeom>
            <a:avLst/>
            <a:gdLst>
              <a:gd name="connsiteX0" fmla="*/ 0 w 1676400"/>
              <a:gd name="connsiteY0" fmla="*/ 3368040 h 3368040"/>
              <a:gd name="connsiteX1" fmla="*/ 702462 w 1676400"/>
              <a:gd name="connsiteY1" fmla="*/ 0 h 3368040"/>
              <a:gd name="connsiteX2" fmla="*/ 1676400 w 1676400"/>
              <a:gd name="connsiteY2" fmla="*/ 0 h 3368040"/>
              <a:gd name="connsiteX3" fmla="*/ 973938 w 1676400"/>
              <a:gd name="connsiteY3" fmla="*/ 3368040 h 3368040"/>
              <a:gd name="connsiteX4" fmla="*/ 0 w 1676400"/>
              <a:gd name="connsiteY4" fmla="*/ 3368040 h 3368040"/>
              <a:gd name="connsiteX0" fmla="*/ 0 w 1728865"/>
              <a:gd name="connsiteY0" fmla="*/ 3843457 h 3843457"/>
              <a:gd name="connsiteX1" fmla="*/ 702462 w 1728865"/>
              <a:gd name="connsiteY1" fmla="*/ 475417 h 3843457"/>
              <a:gd name="connsiteX2" fmla="*/ 1728865 w 1728865"/>
              <a:gd name="connsiteY2" fmla="*/ 0 h 3843457"/>
              <a:gd name="connsiteX3" fmla="*/ 973938 w 1728865"/>
              <a:gd name="connsiteY3" fmla="*/ 3843457 h 3843457"/>
              <a:gd name="connsiteX4" fmla="*/ 0 w 1728865"/>
              <a:gd name="connsiteY4" fmla="*/ 3843457 h 3843457"/>
              <a:gd name="connsiteX0" fmla="*/ 0 w 1946118"/>
              <a:gd name="connsiteY0" fmla="*/ 4461905 h 4461905"/>
              <a:gd name="connsiteX1" fmla="*/ 919715 w 1946118"/>
              <a:gd name="connsiteY1" fmla="*/ 475417 h 4461905"/>
              <a:gd name="connsiteX2" fmla="*/ 1946118 w 1946118"/>
              <a:gd name="connsiteY2" fmla="*/ 0 h 4461905"/>
              <a:gd name="connsiteX3" fmla="*/ 1191191 w 1946118"/>
              <a:gd name="connsiteY3" fmla="*/ 3843457 h 4461905"/>
              <a:gd name="connsiteX4" fmla="*/ 0 w 1946118"/>
              <a:gd name="connsiteY4" fmla="*/ 4461905 h 4461905"/>
              <a:gd name="connsiteX0" fmla="*/ 0 w 1946118"/>
              <a:gd name="connsiteY0" fmla="*/ 4461905 h 4461905"/>
              <a:gd name="connsiteX1" fmla="*/ 919715 w 1946118"/>
              <a:gd name="connsiteY1" fmla="*/ 475417 h 4461905"/>
              <a:gd name="connsiteX2" fmla="*/ 1946118 w 1946118"/>
              <a:gd name="connsiteY2" fmla="*/ 0 h 4461905"/>
              <a:gd name="connsiteX3" fmla="*/ 1045037 w 1946118"/>
              <a:gd name="connsiteY3" fmla="*/ 3733529 h 4461905"/>
              <a:gd name="connsiteX4" fmla="*/ 0 w 1946118"/>
              <a:gd name="connsiteY4" fmla="*/ 4461905 h 4461905"/>
              <a:gd name="connsiteX0" fmla="*/ 0 w 1671715"/>
              <a:gd name="connsiteY0" fmla="*/ 4401320 h 4401320"/>
              <a:gd name="connsiteX1" fmla="*/ 919715 w 1671715"/>
              <a:gd name="connsiteY1" fmla="*/ 414832 h 4401320"/>
              <a:gd name="connsiteX2" fmla="*/ 1671715 w 1671715"/>
              <a:gd name="connsiteY2" fmla="*/ 0 h 4401320"/>
              <a:gd name="connsiteX3" fmla="*/ 1045037 w 1671715"/>
              <a:gd name="connsiteY3" fmla="*/ 3672944 h 4401320"/>
              <a:gd name="connsiteX4" fmla="*/ 0 w 1671715"/>
              <a:gd name="connsiteY4" fmla="*/ 4401320 h 4401320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1450292 w 2076970"/>
              <a:gd name="connsiteY3" fmla="*/ 3672944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980810 w 2076970"/>
              <a:gd name="connsiteY3" fmla="*/ 3739359 h 4306279"/>
              <a:gd name="connsiteX4" fmla="*/ 0 w 2076970"/>
              <a:gd name="connsiteY4" fmla="*/ 4306279 h 4306279"/>
              <a:gd name="connsiteX0" fmla="*/ 0 w 2076970"/>
              <a:gd name="connsiteY0" fmla="*/ 4306279 h 4306279"/>
              <a:gd name="connsiteX1" fmla="*/ 1324970 w 2076970"/>
              <a:gd name="connsiteY1" fmla="*/ 414832 h 4306279"/>
              <a:gd name="connsiteX2" fmla="*/ 2076970 w 2076970"/>
              <a:gd name="connsiteY2" fmla="*/ 0 h 4306279"/>
              <a:gd name="connsiteX3" fmla="*/ 1166937 w 2076970"/>
              <a:gd name="connsiteY3" fmla="*/ 3593309 h 4306279"/>
              <a:gd name="connsiteX4" fmla="*/ 0 w 2076970"/>
              <a:gd name="connsiteY4" fmla="*/ 4306279 h 4306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76970" h="4306279">
                <a:moveTo>
                  <a:pt x="0" y="4306279"/>
                </a:moveTo>
                <a:lnTo>
                  <a:pt x="1324970" y="414832"/>
                </a:lnTo>
                <a:lnTo>
                  <a:pt x="2076970" y="0"/>
                </a:lnTo>
                <a:lnTo>
                  <a:pt x="1166937" y="3593309"/>
                </a:lnTo>
                <a:lnTo>
                  <a:pt x="0" y="4306279"/>
                </a:lnTo>
                <a:close/>
              </a:path>
            </a:pathLst>
          </a:custGeom>
          <a:solidFill>
            <a:srgbClr val="1D2D61"/>
          </a:solidFill>
          <a:ln>
            <a:solidFill>
              <a:srgbClr val="1D2D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각 삼각형 10">
            <a:extLst>
              <a:ext uri="{FF2B5EF4-FFF2-40B4-BE49-F238E27FC236}">
                <a16:creationId xmlns:a16="http://schemas.microsoft.com/office/drawing/2014/main" id="{C26AA14B-2FE4-4F17-9BAC-C48BC50F4AC3}"/>
              </a:ext>
            </a:extLst>
          </p:cNvPr>
          <p:cNvSpPr/>
          <p:nvPr/>
        </p:nvSpPr>
        <p:spPr>
          <a:xfrm rot="5400000">
            <a:off x="883920" y="1363980"/>
            <a:ext cx="2057400" cy="3825240"/>
          </a:xfrm>
          <a:custGeom>
            <a:avLst/>
            <a:gdLst>
              <a:gd name="connsiteX0" fmla="*/ 0 w 1097280"/>
              <a:gd name="connsiteY0" fmla="*/ 3688080 h 3688080"/>
              <a:gd name="connsiteX1" fmla="*/ 0 w 1097280"/>
              <a:gd name="connsiteY1" fmla="*/ 0 h 3688080"/>
              <a:gd name="connsiteX2" fmla="*/ 1097280 w 1097280"/>
              <a:gd name="connsiteY2" fmla="*/ 3688080 h 3688080"/>
              <a:gd name="connsiteX3" fmla="*/ 0 w 1097280"/>
              <a:gd name="connsiteY3" fmla="*/ 3688080 h 3688080"/>
              <a:gd name="connsiteX0" fmla="*/ 960120 w 2057400"/>
              <a:gd name="connsiteY0" fmla="*/ 3825240 h 3825240"/>
              <a:gd name="connsiteX1" fmla="*/ 0 w 2057400"/>
              <a:gd name="connsiteY1" fmla="*/ 0 h 3825240"/>
              <a:gd name="connsiteX2" fmla="*/ 2057400 w 2057400"/>
              <a:gd name="connsiteY2" fmla="*/ 3825240 h 3825240"/>
              <a:gd name="connsiteX3" fmla="*/ 960120 w 2057400"/>
              <a:gd name="connsiteY3" fmla="*/ 3825240 h 3825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57400" h="3825240">
                <a:moveTo>
                  <a:pt x="960120" y="3825240"/>
                </a:moveTo>
                <a:lnTo>
                  <a:pt x="0" y="0"/>
                </a:lnTo>
                <a:lnTo>
                  <a:pt x="2057400" y="3825240"/>
                </a:lnTo>
                <a:lnTo>
                  <a:pt x="960120" y="3825240"/>
                </a:lnTo>
                <a:close/>
              </a:path>
            </a:pathLst>
          </a:custGeom>
          <a:solidFill>
            <a:srgbClr val="304B8F"/>
          </a:solidFill>
          <a:ln>
            <a:solidFill>
              <a:srgbClr val="304B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자유형: 도형 33">
            <a:extLst>
              <a:ext uri="{FF2B5EF4-FFF2-40B4-BE49-F238E27FC236}">
                <a16:creationId xmlns:a16="http://schemas.microsoft.com/office/drawing/2014/main" id="{E51DD70F-DE42-422C-A7E1-581FAE35F361}"/>
              </a:ext>
            </a:extLst>
          </p:cNvPr>
          <p:cNvSpPr/>
          <p:nvPr/>
        </p:nvSpPr>
        <p:spPr>
          <a:xfrm rot="3218114">
            <a:off x="8141046" y="588138"/>
            <a:ext cx="3201175" cy="5926063"/>
          </a:xfrm>
          <a:custGeom>
            <a:avLst/>
            <a:gdLst>
              <a:gd name="connsiteX0" fmla="*/ 1709134 w 3201175"/>
              <a:gd name="connsiteY0" fmla="*/ 0 h 5926063"/>
              <a:gd name="connsiteX1" fmla="*/ 3201175 w 3201175"/>
              <a:gd name="connsiteY1" fmla="*/ 1098611 h 5926063"/>
              <a:gd name="connsiteX2" fmla="*/ 1596321 w 3201175"/>
              <a:gd name="connsiteY2" fmla="*/ 4979027 h 5926063"/>
              <a:gd name="connsiteX3" fmla="*/ 0 w 3201175"/>
              <a:gd name="connsiteY3" fmla="*/ 5926063 h 5926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1175" h="5926063">
                <a:moveTo>
                  <a:pt x="1709134" y="0"/>
                </a:moveTo>
                <a:lnTo>
                  <a:pt x="3201175" y="1098611"/>
                </a:lnTo>
                <a:lnTo>
                  <a:pt x="1596321" y="4979027"/>
                </a:lnTo>
                <a:lnTo>
                  <a:pt x="0" y="5926063"/>
                </a:lnTo>
                <a:close/>
              </a:path>
            </a:pathLst>
          </a:custGeom>
          <a:solidFill>
            <a:srgbClr val="365597"/>
          </a:solidFill>
          <a:ln>
            <a:solidFill>
              <a:srgbClr val="36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ko-KR" altLang="en-US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65E7A525-CB26-4BB9-B788-94D77C611E1B}"/>
              </a:ext>
            </a:extLst>
          </p:cNvPr>
          <p:cNvSpPr/>
          <p:nvPr/>
        </p:nvSpPr>
        <p:spPr>
          <a:xfrm>
            <a:off x="0" y="0"/>
            <a:ext cx="464820" cy="392992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B455D1F6-AC98-42A7-A49F-B9B8979EFB9C}"/>
              </a:ext>
            </a:extLst>
          </p:cNvPr>
          <p:cNvSpPr/>
          <p:nvPr/>
        </p:nvSpPr>
        <p:spPr>
          <a:xfrm rot="5400000">
            <a:off x="5905500" y="-5440680"/>
            <a:ext cx="381000" cy="1126236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FAA32E76-D9AF-457D-A849-4CE6AA3C8A41}"/>
              </a:ext>
            </a:extLst>
          </p:cNvPr>
          <p:cNvSpPr/>
          <p:nvPr/>
        </p:nvSpPr>
        <p:spPr>
          <a:xfrm>
            <a:off x="11727180" y="0"/>
            <a:ext cx="464820" cy="3727048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54EBCAD0-28BF-4F41-9FF9-24637DB83F93}"/>
              </a:ext>
            </a:extLst>
          </p:cNvPr>
          <p:cNvSpPr/>
          <p:nvPr/>
        </p:nvSpPr>
        <p:spPr>
          <a:xfrm>
            <a:off x="11727180" y="3727048"/>
            <a:ext cx="464820" cy="124430"/>
          </a:xfrm>
          <a:custGeom>
            <a:avLst/>
            <a:gdLst>
              <a:gd name="connsiteX0" fmla="*/ 0 w 464820"/>
              <a:gd name="connsiteY0" fmla="*/ 0 h 124430"/>
              <a:gd name="connsiteX1" fmla="*/ 464820 w 464820"/>
              <a:gd name="connsiteY1" fmla="*/ 0 h 124430"/>
              <a:gd name="connsiteX2" fmla="*/ 464820 w 464820"/>
              <a:gd name="connsiteY2" fmla="*/ 124430 h 124430"/>
              <a:gd name="connsiteX3" fmla="*/ 0 w 464820"/>
              <a:gd name="connsiteY3" fmla="*/ 124430 h 124430"/>
              <a:gd name="connsiteX4" fmla="*/ 0 w 464820"/>
              <a:gd name="connsiteY4" fmla="*/ 0 h 124430"/>
              <a:gd name="connsiteX0" fmla="*/ 0 w 464820"/>
              <a:gd name="connsiteY0" fmla="*/ 0 h 124430"/>
              <a:gd name="connsiteX1" fmla="*/ 464820 w 464820"/>
              <a:gd name="connsiteY1" fmla="*/ 0 h 124430"/>
              <a:gd name="connsiteX2" fmla="*/ 457200 w 464820"/>
              <a:gd name="connsiteY2" fmla="*/ 17750 h 124430"/>
              <a:gd name="connsiteX3" fmla="*/ 0 w 464820"/>
              <a:gd name="connsiteY3" fmla="*/ 124430 h 124430"/>
              <a:gd name="connsiteX4" fmla="*/ 0 w 464820"/>
              <a:gd name="connsiteY4" fmla="*/ 0 h 124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" h="124430">
                <a:moveTo>
                  <a:pt x="0" y="0"/>
                </a:moveTo>
                <a:lnTo>
                  <a:pt x="464820" y="0"/>
                </a:lnTo>
                <a:lnTo>
                  <a:pt x="457200" y="17750"/>
                </a:lnTo>
                <a:lnTo>
                  <a:pt x="0" y="12443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F6408E02-E0E7-4925-BF36-8FE41C7F05B0}"/>
              </a:ext>
            </a:extLst>
          </p:cNvPr>
          <p:cNvSpPr/>
          <p:nvPr/>
        </p:nvSpPr>
        <p:spPr>
          <a:xfrm>
            <a:off x="0" y="3929920"/>
            <a:ext cx="464820" cy="399681"/>
          </a:xfrm>
          <a:custGeom>
            <a:avLst/>
            <a:gdLst>
              <a:gd name="connsiteX0" fmla="*/ 0 w 464820"/>
              <a:gd name="connsiteY0" fmla="*/ 0 h 399681"/>
              <a:gd name="connsiteX1" fmla="*/ 464820 w 464820"/>
              <a:gd name="connsiteY1" fmla="*/ 0 h 399681"/>
              <a:gd name="connsiteX2" fmla="*/ 464820 w 464820"/>
              <a:gd name="connsiteY2" fmla="*/ 399681 h 399681"/>
              <a:gd name="connsiteX3" fmla="*/ 0 w 464820"/>
              <a:gd name="connsiteY3" fmla="*/ 399681 h 399681"/>
              <a:gd name="connsiteX4" fmla="*/ 0 w 464820"/>
              <a:gd name="connsiteY4" fmla="*/ 0 h 399681"/>
              <a:gd name="connsiteX0" fmla="*/ 0 w 464820"/>
              <a:gd name="connsiteY0" fmla="*/ 0 h 399681"/>
              <a:gd name="connsiteX1" fmla="*/ 464820 w 464820"/>
              <a:gd name="connsiteY1" fmla="*/ 0 h 399681"/>
              <a:gd name="connsiteX2" fmla="*/ 455295 w 464820"/>
              <a:gd name="connsiteY2" fmla="*/ 140601 h 399681"/>
              <a:gd name="connsiteX3" fmla="*/ 0 w 464820"/>
              <a:gd name="connsiteY3" fmla="*/ 399681 h 399681"/>
              <a:gd name="connsiteX4" fmla="*/ 0 w 464820"/>
              <a:gd name="connsiteY4" fmla="*/ 0 h 399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" h="399681">
                <a:moveTo>
                  <a:pt x="0" y="0"/>
                </a:moveTo>
                <a:lnTo>
                  <a:pt x="464820" y="0"/>
                </a:lnTo>
                <a:lnTo>
                  <a:pt x="455295" y="140601"/>
                </a:lnTo>
                <a:lnTo>
                  <a:pt x="0" y="39968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7323146-E9B1-4F9C-9F15-E4C7CF604F47}"/>
              </a:ext>
            </a:extLst>
          </p:cNvPr>
          <p:cNvSpPr txBox="1"/>
          <p:nvPr/>
        </p:nvSpPr>
        <p:spPr>
          <a:xfrm>
            <a:off x="1673671" y="3845691"/>
            <a:ext cx="36717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000" dirty="0">
                <a:solidFill>
                  <a:srgbClr val="046DA7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가천대학교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04B4949-8EC5-4D6B-AAFD-3D2BB466BE40}"/>
              </a:ext>
            </a:extLst>
          </p:cNvPr>
          <p:cNvSpPr txBox="1"/>
          <p:nvPr/>
        </p:nvSpPr>
        <p:spPr>
          <a:xfrm>
            <a:off x="1673671" y="4519078"/>
            <a:ext cx="50814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800" dirty="0">
                <a:solidFill>
                  <a:srgbClr val="1D2D6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감사합니다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94F9995-D8A3-4FFA-8DE3-3CC68B0C9F28}"/>
              </a:ext>
            </a:extLst>
          </p:cNvPr>
          <p:cNvSpPr txBox="1"/>
          <p:nvPr/>
        </p:nvSpPr>
        <p:spPr>
          <a:xfrm>
            <a:off x="1707146" y="5482871"/>
            <a:ext cx="55470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 err="1">
                <a:solidFill>
                  <a:schemeClr val="bg1">
                    <a:lumMod val="65000"/>
                  </a:schemeClr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Gachon</a:t>
            </a:r>
            <a:r>
              <a:rPr lang="en-US" altLang="ko-KR" sz="1600" dirty="0">
                <a:solidFill>
                  <a:schemeClr val="bg1">
                    <a:lumMod val="65000"/>
                  </a:schemeClr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University – 2021 PPT Template</a:t>
            </a:r>
            <a:endParaRPr lang="ko-KR" altLang="en-US" sz="1600" dirty="0">
              <a:solidFill>
                <a:schemeClr val="bg1">
                  <a:lumMod val="65000"/>
                </a:schemeClr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6A88A032-AB2E-4B44-861E-4A82DC9B871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87951" y="5752602"/>
            <a:ext cx="2015489" cy="718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3746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그림 118">
            <a:extLst>
              <a:ext uri="{FF2B5EF4-FFF2-40B4-BE49-F238E27FC236}">
                <a16:creationId xmlns:a16="http://schemas.microsoft.com/office/drawing/2014/main" id="{626BB956-6E39-4A7C-A6B9-75882B150CB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61000"/>
          </a:blip>
          <a:srcRect t="3945" b="39548"/>
          <a:stretch/>
        </p:blipFill>
        <p:spPr>
          <a:xfrm>
            <a:off x="1" y="-1933"/>
            <a:ext cx="12191999" cy="2341791"/>
          </a:xfrm>
          <a:custGeom>
            <a:avLst/>
            <a:gdLst>
              <a:gd name="connsiteX0" fmla="*/ 0 w 12191999"/>
              <a:gd name="connsiteY0" fmla="*/ 0 h 3727048"/>
              <a:gd name="connsiteX1" fmla="*/ 12191999 w 12191999"/>
              <a:gd name="connsiteY1" fmla="*/ 0 h 3727048"/>
              <a:gd name="connsiteX2" fmla="*/ 12191999 w 12191999"/>
              <a:gd name="connsiteY2" fmla="*/ 3727048 h 3727048"/>
              <a:gd name="connsiteX3" fmla="*/ 6006470 w 12191999"/>
              <a:gd name="connsiteY3" fmla="*/ 3727048 h 3727048"/>
              <a:gd name="connsiteX4" fmla="*/ 3296918 w 12191999"/>
              <a:gd name="connsiteY4" fmla="*/ 2486026 h 3727048"/>
              <a:gd name="connsiteX5" fmla="*/ 587367 w 12191999"/>
              <a:gd name="connsiteY5" fmla="*/ 3727048 h 3727048"/>
              <a:gd name="connsiteX6" fmla="*/ 0 w 12191999"/>
              <a:gd name="connsiteY6" fmla="*/ 3727048 h 3727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27048">
                <a:moveTo>
                  <a:pt x="0" y="0"/>
                </a:moveTo>
                <a:lnTo>
                  <a:pt x="12191999" y="0"/>
                </a:lnTo>
                <a:lnTo>
                  <a:pt x="12191999" y="3727048"/>
                </a:lnTo>
                <a:lnTo>
                  <a:pt x="6006470" y="3727048"/>
                </a:lnTo>
                <a:lnTo>
                  <a:pt x="3296918" y="2486026"/>
                </a:lnTo>
                <a:lnTo>
                  <a:pt x="587367" y="3727048"/>
                </a:lnTo>
                <a:lnTo>
                  <a:pt x="0" y="3727048"/>
                </a:lnTo>
                <a:close/>
              </a:path>
            </a:pathLst>
          </a:custGeom>
          <a:noFill/>
        </p:spPr>
      </p:pic>
      <p:grpSp>
        <p:nvGrpSpPr>
          <p:cNvPr id="6" name="그룹 5">
            <a:extLst>
              <a:ext uri="{FF2B5EF4-FFF2-40B4-BE49-F238E27FC236}">
                <a16:creationId xmlns:a16="http://schemas.microsoft.com/office/drawing/2014/main" id="{C6B7FD5B-A127-8542-A28B-B84C2C83B980}"/>
              </a:ext>
            </a:extLst>
          </p:cNvPr>
          <p:cNvGrpSpPr/>
          <p:nvPr/>
        </p:nvGrpSpPr>
        <p:grpSpPr>
          <a:xfrm>
            <a:off x="922697" y="2026024"/>
            <a:ext cx="10277689" cy="4464896"/>
            <a:chOff x="2131812" y="2593704"/>
            <a:chExt cx="8106422" cy="3521641"/>
          </a:xfrm>
        </p:grpSpPr>
        <p:grpSp>
          <p:nvGrpSpPr>
            <p:cNvPr id="24" name="그룹 23"/>
            <p:cNvGrpSpPr/>
            <p:nvPr/>
          </p:nvGrpSpPr>
          <p:grpSpPr>
            <a:xfrm>
              <a:off x="7946387" y="2593706"/>
              <a:ext cx="2291847" cy="3521639"/>
              <a:chOff x="323850" y="2575355"/>
              <a:chExt cx="2021204" cy="3521639"/>
            </a:xfrm>
          </p:grpSpPr>
          <p:sp>
            <p:nvSpPr>
              <p:cNvPr id="29" name="직사각형 28"/>
              <p:cNvSpPr/>
              <p:nvPr/>
            </p:nvSpPr>
            <p:spPr>
              <a:xfrm>
                <a:off x="323850" y="2944232"/>
                <a:ext cx="2021204" cy="3152762"/>
              </a:xfrm>
              <a:prstGeom prst="rect">
                <a:avLst/>
              </a:prstGeom>
              <a:solidFill>
                <a:srgbClr val="DCDCDC">
                  <a:alpha val="23000"/>
                </a:srgbClr>
              </a:solidFill>
              <a:ln w="6350">
                <a:gradFill>
                  <a:gsLst>
                    <a:gs pos="0">
                      <a:schemeClr val="bg2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/>
              </a:p>
            </p:txBody>
          </p:sp>
          <p:sp>
            <p:nvSpPr>
              <p:cNvPr id="31" name="모서리가 둥근 직사각형 30"/>
              <p:cNvSpPr/>
              <p:nvPr/>
            </p:nvSpPr>
            <p:spPr>
              <a:xfrm rot="2700000">
                <a:off x="1000514" y="2586296"/>
                <a:ext cx="667872" cy="667872"/>
              </a:xfrm>
              <a:prstGeom prst="roundRect">
                <a:avLst>
                  <a:gd name="adj" fmla="val 11680"/>
                </a:avLst>
              </a:prstGeom>
              <a:solidFill>
                <a:srgbClr val="17375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/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>
                <a:off x="1076473" y="2575355"/>
                <a:ext cx="500879" cy="6068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ko-KR" sz="4400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명조 ExtraBold" panose="02020603020101020101" pitchFamily="18" charset="-127"/>
                    <a:ea typeface="나눔명조 ExtraBold" panose="02020603020101020101" pitchFamily="18" charset="-127"/>
                  </a:rPr>
                  <a:t>Ⅲ</a:t>
                </a:r>
                <a:endParaRPr lang="ko-KR" altLang="en-US" sz="44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명조 ExtraBold" panose="02020603020101020101" pitchFamily="18" charset="-127"/>
                  <a:ea typeface="나눔명조 ExtraBold" panose="02020603020101020101" pitchFamily="18" charset="-127"/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>
                <a:off x="580840" y="3727979"/>
                <a:ext cx="1492154" cy="41268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ko-KR" altLang="en-US" sz="280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pple SD Gothic Neo" panose="02000300000000000000" pitchFamily="2" charset="-127"/>
                    <a:ea typeface="Apple SD Gothic Neo" panose="02000300000000000000" pitchFamily="2" charset="-127"/>
                  </a:rPr>
                  <a:t>프로젝트 계획</a:t>
                </a:r>
              </a:p>
            </p:txBody>
          </p:sp>
          <p:cxnSp>
            <p:nvCxnSpPr>
              <p:cNvPr id="35" name="직선 연결선 34"/>
              <p:cNvCxnSpPr/>
              <p:nvPr/>
            </p:nvCxnSpPr>
            <p:spPr>
              <a:xfrm>
                <a:off x="485765" y="4495277"/>
                <a:ext cx="1698580" cy="0"/>
              </a:xfrm>
              <a:prstGeom prst="line">
                <a:avLst/>
              </a:prstGeom>
              <a:ln>
                <a:solidFill>
                  <a:srgbClr val="17375E">
                    <a:alpha val="4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그룹 35"/>
            <p:cNvGrpSpPr/>
            <p:nvPr/>
          </p:nvGrpSpPr>
          <p:grpSpPr>
            <a:xfrm>
              <a:off x="4960736" y="2593704"/>
              <a:ext cx="2291847" cy="3505603"/>
              <a:chOff x="2482216" y="2575355"/>
              <a:chExt cx="2021204" cy="3487888"/>
            </a:xfrm>
          </p:grpSpPr>
          <p:sp>
            <p:nvSpPr>
              <p:cNvPr id="37" name="직사각형 36"/>
              <p:cNvSpPr/>
              <p:nvPr/>
            </p:nvSpPr>
            <p:spPr>
              <a:xfrm>
                <a:off x="2482216" y="2926910"/>
                <a:ext cx="2021204" cy="3136333"/>
              </a:xfrm>
              <a:prstGeom prst="rect">
                <a:avLst/>
              </a:prstGeom>
              <a:solidFill>
                <a:srgbClr val="DCDCDC">
                  <a:alpha val="23000"/>
                </a:srgbClr>
              </a:solidFill>
              <a:ln w="6350">
                <a:gradFill>
                  <a:gsLst>
                    <a:gs pos="0">
                      <a:schemeClr val="bg2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/>
              </a:p>
            </p:txBody>
          </p:sp>
          <p:sp>
            <p:nvSpPr>
              <p:cNvPr id="38" name="모서리가 둥근 직사각형 37"/>
              <p:cNvSpPr/>
              <p:nvPr/>
            </p:nvSpPr>
            <p:spPr>
              <a:xfrm rot="2700000">
                <a:off x="3158881" y="2586296"/>
                <a:ext cx="667872" cy="667872"/>
              </a:xfrm>
              <a:prstGeom prst="roundRect">
                <a:avLst>
                  <a:gd name="adj" fmla="val 11680"/>
                </a:avLst>
              </a:prstGeom>
              <a:solidFill>
                <a:srgbClr val="0771B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 dirty="0"/>
              </a:p>
            </p:txBody>
          </p:sp>
          <p:sp>
            <p:nvSpPr>
              <p:cNvPr id="39" name="TextBox 38"/>
              <p:cNvSpPr txBox="1"/>
              <p:nvPr/>
            </p:nvSpPr>
            <p:spPr>
              <a:xfrm>
                <a:off x="3234840" y="2575355"/>
                <a:ext cx="500879" cy="6038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ko-KR" sz="4400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명조 ExtraBold" panose="02020603020101020101" pitchFamily="18" charset="-127"/>
                    <a:ea typeface="나눔명조 ExtraBold" panose="02020603020101020101" pitchFamily="18" charset="-127"/>
                  </a:rPr>
                  <a:t>Ⅱ</a:t>
                </a:r>
                <a:endParaRPr lang="ko-KR" altLang="en-US" sz="44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명조 ExtraBold" panose="02020603020101020101" pitchFamily="18" charset="-127"/>
                  <a:ea typeface="나눔명조 ExtraBold" panose="02020603020101020101" pitchFamily="18" charset="-127"/>
                </a:endParaRPr>
              </a:p>
            </p:txBody>
          </p:sp>
          <p:sp>
            <p:nvSpPr>
              <p:cNvPr id="40" name="TextBox 39"/>
              <p:cNvSpPr txBox="1"/>
              <p:nvPr/>
            </p:nvSpPr>
            <p:spPr>
              <a:xfrm>
                <a:off x="2747565" y="3720531"/>
                <a:ext cx="1492154" cy="4105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ko-KR" altLang="en-US" sz="2800" b="1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pple SD Gothic Neo" panose="02000300000000000000" pitchFamily="2" charset="-127"/>
                    <a:ea typeface="Apple SD Gothic Neo" panose="02000300000000000000" pitchFamily="2" charset="-127"/>
                  </a:rPr>
                  <a:t>프로젝트 소개</a:t>
                </a:r>
                <a:endParaRPr lang="en-US" altLang="ko-KR" sz="280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endParaRPr>
              </a:p>
            </p:txBody>
          </p:sp>
          <p:cxnSp>
            <p:nvCxnSpPr>
              <p:cNvPr id="41" name="직선 연결선 40"/>
              <p:cNvCxnSpPr/>
              <p:nvPr/>
            </p:nvCxnSpPr>
            <p:spPr>
              <a:xfrm>
                <a:off x="2644131" y="4499651"/>
                <a:ext cx="1698580" cy="0"/>
              </a:xfrm>
              <a:prstGeom prst="line">
                <a:avLst/>
              </a:prstGeom>
              <a:ln>
                <a:solidFill>
                  <a:srgbClr val="0771B5">
                    <a:alpha val="4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그룹 41"/>
            <p:cNvGrpSpPr/>
            <p:nvPr/>
          </p:nvGrpSpPr>
          <p:grpSpPr>
            <a:xfrm>
              <a:off x="2183537" y="2632602"/>
              <a:ext cx="2291847" cy="3482742"/>
              <a:chOff x="4640582" y="2586296"/>
              <a:chExt cx="2021204" cy="3482742"/>
            </a:xfrm>
          </p:grpSpPr>
          <p:sp>
            <p:nvSpPr>
              <p:cNvPr id="43" name="직사각형 42"/>
              <p:cNvSpPr/>
              <p:nvPr/>
            </p:nvSpPr>
            <p:spPr>
              <a:xfrm>
                <a:off x="4640582" y="2916276"/>
                <a:ext cx="2021204" cy="3152762"/>
              </a:xfrm>
              <a:prstGeom prst="rect">
                <a:avLst/>
              </a:prstGeom>
              <a:solidFill>
                <a:srgbClr val="DCDCDC">
                  <a:alpha val="23000"/>
                </a:srgbClr>
              </a:solidFill>
              <a:ln w="6350">
                <a:gradFill>
                  <a:gsLst>
                    <a:gs pos="0">
                      <a:schemeClr val="bg2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/>
              </a:p>
            </p:txBody>
          </p:sp>
          <p:sp>
            <p:nvSpPr>
              <p:cNvPr id="44" name="모서리가 둥근 직사각형 43"/>
              <p:cNvSpPr/>
              <p:nvPr/>
            </p:nvSpPr>
            <p:spPr>
              <a:xfrm rot="2700000">
                <a:off x="5317247" y="2586296"/>
                <a:ext cx="667872" cy="667872"/>
              </a:xfrm>
              <a:prstGeom prst="roundRect">
                <a:avLst>
                  <a:gd name="adj" fmla="val 11680"/>
                </a:avLst>
              </a:prstGeom>
              <a:solidFill>
                <a:srgbClr val="36A4E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/>
              </a:p>
            </p:txBody>
          </p:sp>
          <p:sp>
            <p:nvSpPr>
              <p:cNvPr id="45" name="TextBox 44"/>
              <p:cNvSpPr txBox="1"/>
              <p:nvPr/>
            </p:nvSpPr>
            <p:spPr>
              <a:xfrm>
                <a:off x="5408280" y="2592447"/>
                <a:ext cx="500879" cy="6068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ko-KR" sz="4400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명조 ExtraBold" panose="02020603020101020101" pitchFamily="18" charset="-127"/>
                    <a:ea typeface="나눔명조 ExtraBold" panose="02020603020101020101" pitchFamily="18" charset="-127"/>
                  </a:rPr>
                  <a:t>Ⅰ</a:t>
                </a:r>
                <a:endParaRPr lang="ko-KR" altLang="en-US" sz="44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명조 ExtraBold" panose="02020603020101020101" pitchFamily="18" charset="-127"/>
                  <a:ea typeface="나눔명조 ExtraBold" panose="02020603020101020101" pitchFamily="18" charset="-127"/>
                </a:endParaRPr>
              </a:p>
            </p:txBody>
          </p:sp>
          <p:cxnSp>
            <p:nvCxnSpPr>
              <p:cNvPr id="46" name="직선 연결선 45"/>
              <p:cNvCxnSpPr/>
              <p:nvPr/>
            </p:nvCxnSpPr>
            <p:spPr>
              <a:xfrm>
                <a:off x="4802497" y="4486931"/>
                <a:ext cx="1698580" cy="0"/>
              </a:xfrm>
              <a:prstGeom prst="line">
                <a:avLst/>
              </a:prstGeom>
              <a:ln>
                <a:solidFill>
                  <a:srgbClr val="049BD8">
                    <a:alpha val="4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7" name="TextBox 46"/>
            <p:cNvSpPr txBox="1"/>
            <p:nvPr/>
          </p:nvSpPr>
          <p:spPr>
            <a:xfrm>
              <a:off x="2131812" y="3741471"/>
              <a:ext cx="2412382" cy="4126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280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rPr>
                <a:t>프로젝트 개요</a:t>
              </a:r>
              <a:endParaRPr lang="en-US" altLang="ko-KR" sz="28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8313141" y="4627047"/>
              <a:ext cx="306227" cy="339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0</a:t>
              </a:r>
              <a:r>
                <a:rPr lang="en-US" altLang="ko-KR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17375E"/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8620335" y="4645112"/>
              <a:ext cx="1171044" cy="339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rPr>
                <a:t>프로젝트 방향성</a:t>
              </a:r>
              <a:endParaRPr lang="en-US" altLang="ko-KR" sz="7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93A6AE2D-9024-B249-A412-B4FD27D1CC1A}"/>
                </a:ext>
              </a:extLst>
            </p:cNvPr>
            <p:cNvSpPr txBox="1"/>
            <p:nvPr/>
          </p:nvSpPr>
          <p:spPr>
            <a:xfrm>
              <a:off x="8305644" y="4964013"/>
              <a:ext cx="334042" cy="339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0</a:t>
              </a:r>
              <a:r>
                <a:rPr lang="en-US" altLang="ko-KR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17375E"/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2BF90009-FAF3-2943-9E96-565DA0EC07FE}"/>
                </a:ext>
              </a:extLst>
            </p:cNvPr>
            <p:cNvSpPr txBox="1"/>
            <p:nvPr/>
          </p:nvSpPr>
          <p:spPr>
            <a:xfrm>
              <a:off x="8620336" y="4975284"/>
              <a:ext cx="1030700" cy="339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600" dirty="0" err="1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rPr>
                <a:t>기업컨택</a:t>
              </a:r>
              <a:r>
                <a:rPr lang="ko-KR" altLang="en-US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rPr>
                <a:t> 여부</a:t>
              </a:r>
              <a:endParaRPr lang="en-US" altLang="ko-KR" sz="7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A0CC638C-D280-9643-A56B-E3566E5CB7DD}"/>
                </a:ext>
              </a:extLst>
            </p:cNvPr>
            <p:cNvSpPr txBox="1"/>
            <p:nvPr/>
          </p:nvSpPr>
          <p:spPr>
            <a:xfrm>
              <a:off x="5311106" y="4627455"/>
              <a:ext cx="306227" cy="339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0</a:t>
              </a:r>
              <a:r>
                <a:rPr lang="en-US" altLang="ko-KR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0572B5"/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5865A30F-0908-324D-8055-1502230C6AC1}"/>
                </a:ext>
              </a:extLst>
            </p:cNvPr>
            <p:cNvSpPr txBox="1"/>
            <p:nvPr/>
          </p:nvSpPr>
          <p:spPr>
            <a:xfrm>
              <a:off x="5311106" y="4970999"/>
              <a:ext cx="334042" cy="339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0</a:t>
              </a:r>
              <a:r>
                <a:rPr lang="en-US" altLang="ko-KR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0572B5"/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DF8AA3CC-2006-CF40-AD29-9012B49AB042}"/>
                </a:ext>
              </a:extLst>
            </p:cNvPr>
            <p:cNvSpPr txBox="1"/>
            <p:nvPr/>
          </p:nvSpPr>
          <p:spPr>
            <a:xfrm>
              <a:off x="5654540" y="5315274"/>
              <a:ext cx="707026" cy="339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600" dirty="0" err="1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rPr>
                <a:t>도입효과</a:t>
              </a:r>
              <a:endParaRPr lang="en-US" altLang="ko-KR" sz="16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DA9C1C0A-845B-5C4A-ADAC-1EB6E88A8662}"/>
                </a:ext>
              </a:extLst>
            </p:cNvPr>
            <p:cNvSpPr txBox="1"/>
            <p:nvPr/>
          </p:nvSpPr>
          <p:spPr>
            <a:xfrm>
              <a:off x="5311106" y="5306046"/>
              <a:ext cx="335306" cy="339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0</a:t>
              </a:r>
              <a:r>
                <a:rPr lang="en-US" altLang="ko-KR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0572B5"/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3</a:t>
              </a:r>
            </a:p>
          </p:txBody>
        </p:sp>
        <p:grpSp>
          <p:nvGrpSpPr>
            <p:cNvPr id="3" name="그룹 2">
              <a:extLst>
                <a:ext uri="{FF2B5EF4-FFF2-40B4-BE49-F238E27FC236}">
                  <a16:creationId xmlns:a16="http://schemas.microsoft.com/office/drawing/2014/main" id="{D1BF1ABF-EA79-C746-9DB6-6FCA2E63C5EF}"/>
                </a:ext>
              </a:extLst>
            </p:cNvPr>
            <p:cNvGrpSpPr/>
            <p:nvPr/>
          </p:nvGrpSpPr>
          <p:grpSpPr>
            <a:xfrm>
              <a:off x="2538942" y="4627454"/>
              <a:ext cx="1375665" cy="357516"/>
              <a:chOff x="1014942" y="4591596"/>
              <a:chExt cx="1375665" cy="357516"/>
            </a:xfrm>
          </p:grpSpPr>
          <p:sp>
            <p:nvSpPr>
              <p:cNvPr id="52" name="TextBox 51"/>
              <p:cNvSpPr txBox="1"/>
              <p:nvPr/>
            </p:nvSpPr>
            <p:spPr>
              <a:xfrm>
                <a:off x="1014942" y="4591596"/>
                <a:ext cx="306227" cy="33985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altLang="ko-KR" sz="1600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Apple SD Gothic Neo" panose="02000300000000000000" pitchFamily="2" charset="-127"/>
                    <a:ea typeface="Apple SD Gothic Neo" panose="02000300000000000000" pitchFamily="2" charset="-127"/>
                    <a:cs typeface="Arial" panose="020B0604020202020204" pitchFamily="34" charset="0"/>
                  </a:rPr>
                  <a:t>0</a:t>
                </a:r>
                <a:r>
                  <a:rPr lang="en-US" altLang="ko-KR" sz="1600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rgbClr val="049BD8"/>
                    </a:solidFill>
                    <a:latin typeface="Apple SD Gothic Neo" panose="02000300000000000000" pitchFamily="2" charset="-127"/>
                    <a:ea typeface="Apple SD Gothic Neo" panose="02000300000000000000" pitchFamily="2" charset="-127"/>
                    <a:cs typeface="Arial" panose="020B0604020202020204" pitchFamily="34" charset="0"/>
                  </a:rPr>
                  <a:t>1</a:t>
                </a:r>
              </a:p>
            </p:txBody>
          </p:sp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D6ABC14F-8D56-8246-BDE1-4D94DA3EB839}"/>
                  </a:ext>
                </a:extLst>
              </p:cNvPr>
              <p:cNvSpPr txBox="1"/>
              <p:nvPr/>
            </p:nvSpPr>
            <p:spPr>
              <a:xfrm>
                <a:off x="1359907" y="4609253"/>
                <a:ext cx="1030700" cy="33985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ko-KR" altLang="en-US" sz="1600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ple SD Gothic Neo" panose="02000300000000000000" pitchFamily="2" charset="-127"/>
                    <a:ea typeface="Apple SD Gothic Neo" panose="02000300000000000000" pitchFamily="2" charset="-127"/>
                  </a:rPr>
                  <a:t>프로젝트 목적</a:t>
                </a:r>
                <a:endParaRPr lang="en-US" altLang="ko-KR" sz="7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endParaRPr>
              </a:p>
            </p:txBody>
          </p:sp>
        </p:grpSp>
        <p:grpSp>
          <p:nvGrpSpPr>
            <p:cNvPr id="5" name="그룹 4">
              <a:extLst>
                <a:ext uri="{FF2B5EF4-FFF2-40B4-BE49-F238E27FC236}">
                  <a16:creationId xmlns:a16="http://schemas.microsoft.com/office/drawing/2014/main" id="{28E0EAEE-46C4-0A4D-808D-4C7FC5642CF9}"/>
                </a:ext>
              </a:extLst>
            </p:cNvPr>
            <p:cNvGrpSpPr/>
            <p:nvPr/>
          </p:nvGrpSpPr>
          <p:grpSpPr>
            <a:xfrm>
              <a:off x="2538943" y="4970998"/>
              <a:ext cx="1094979" cy="344143"/>
              <a:chOff x="1014942" y="4935140"/>
              <a:chExt cx="1094979" cy="344143"/>
            </a:xfrm>
          </p:grpSpPr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EA8D208A-15ED-024C-94A0-B1BA991D05C1}"/>
                  </a:ext>
                </a:extLst>
              </p:cNvPr>
              <p:cNvSpPr txBox="1"/>
              <p:nvPr/>
            </p:nvSpPr>
            <p:spPr>
              <a:xfrm>
                <a:off x="1014942" y="4935140"/>
                <a:ext cx="334042" cy="33985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altLang="ko-KR" sz="1600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Apple SD Gothic Neo" panose="02000300000000000000" pitchFamily="2" charset="-127"/>
                    <a:ea typeface="Apple SD Gothic Neo" panose="02000300000000000000" pitchFamily="2" charset="-127"/>
                    <a:cs typeface="Arial" panose="020B0604020202020204" pitchFamily="34" charset="0"/>
                  </a:rPr>
                  <a:t>0</a:t>
                </a:r>
                <a:r>
                  <a:rPr lang="en-US" altLang="ko-KR" sz="1600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rgbClr val="049BD8"/>
                    </a:solidFill>
                    <a:latin typeface="Apple SD Gothic Neo" panose="02000300000000000000" pitchFamily="2" charset="-127"/>
                    <a:ea typeface="Apple SD Gothic Neo" panose="02000300000000000000" pitchFamily="2" charset="-127"/>
                    <a:cs typeface="Arial" panose="020B0604020202020204" pitchFamily="34" charset="0"/>
                  </a:rPr>
                  <a:t>2</a:t>
                </a:r>
              </a:p>
            </p:txBody>
          </p: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CCE062A5-D7E5-2B4A-BE97-C9BFEBA5D7D7}"/>
                  </a:ext>
                </a:extLst>
              </p:cNvPr>
              <p:cNvSpPr txBox="1"/>
              <p:nvPr/>
            </p:nvSpPr>
            <p:spPr>
              <a:xfrm>
                <a:off x="1359907" y="4939425"/>
                <a:ext cx="750014" cy="33985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ko-KR" altLang="en-US" sz="1600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ple SD Gothic Neo" panose="02000300000000000000" pitchFamily="2" charset="-127"/>
                    <a:ea typeface="Apple SD Gothic Neo" panose="02000300000000000000" pitchFamily="2" charset="-127"/>
                  </a:rPr>
                  <a:t>팀원 소개</a:t>
                </a:r>
                <a:endParaRPr lang="en-US" altLang="ko-KR" sz="7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endParaRPr>
              </a:p>
            </p:txBody>
          </p:sp>
        </p:grpSp>
        <p:grpSp>
          <p:nvGrpSpPr>
            <p:cNvPr id="49" name="그룹 48">
              <a:extLst>
                <a:ext uri="{FF2B5EF4-FFF2-40B4-BE49-F238E27FC236}">
                  <a16:creationId xmlns:a16="http://schemas.microsoft.com/office/drawing/2014/main" id="{10D32D55-C4F4-A348-B187-B4D0E897D4D3}"/>
                </a:ext>
              </a:extLst>
            </p:cNvPr>
            <p:cNvGrpSpPr/>
            <p:nvPr/>
          </p:nvGrpSpPr>
          <p:grpSpPr>
            <a:xfrm>
              <a:off x="2538942" y="5329509"/>
              <a:ext cx="954636" cy="344143"/>
              <a:chOff x="1014942" y="4935140"/>
              <a:chExt cx="954636" cy="344143"/>
            </a:xfrm>
          </p:grpSpPr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59378057-1C2A-BB48-902A-17E7B3393E14}"/>
                  </a:ext>
                </a:extLst>
              </p:cNvPr>
              <p:cNvSpPr txBox="1"/>
              <p:nvPr/>
            </p:nvSpPr>
            <p:spPr>
              <a:xfrm>
                <a:off x="1014942" y="4935140"/>
                <a:ext cx="335306" cy="33985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altLang="ko-KR" sz="1600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bg1">
                        <a:lumMod val="65000"/>
                      </a:schemeClr>
                    </a:solidFill>
                    <a:latin typeface="Apple SD Gothic Neo" panose="02000300000000000000" pitchFamily="2" charset="-127"/>
                    <a:ea typeface="Apple SD Gothic Neo" panose="02000300000000000000" pitchFamily="2" charset="-127"/>
                    <a:cs typeface="Arial" panose="020B0604020202020204" pitchFamily="34" charset="0"/>
                  </a:rPr>
                  <a:t>0</a:t>
                </a:r>
                <a:r>
                  <a:rPr lang="en-US" altLang="ko-KR" sz="1600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rgbClr val="049BD8"/>
                    </a:solidFill>
                    <a:latin typeface="Apple SD Gothic Neo" panose="02000300000000000000" pitchFamily="2" charset="-127"/>
                    <a:ea typeface="Apple SD Gothic Neo" panose="02000300000000000000" pitchFamily="2" charset="-127"/>
                    <a:cs typeface="Arial" panose="020B0604020202020204" pitchFamily="34" charset="0"/>
                  </a:rPr>
                  <a:t>3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23C551F9-ACA9-E84A-BC4A-EB6F54E74ABF}"/>
                  </a:ext>
                </a:extLst>
              </p:cNvPr>
              <p:cNvSpPr txBox="1"/>
              <p:nvPr/>
            </p:nvSpPr>
            <p:spPr>
              <a:xfrm>
                <a:off x="1359907" y="4939425"/>
                <a:ext cx="609671" cy="33985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ko-KR" altLang="en-US" sz="1600" dirty="0">
                    <a:ln>
                      <a:solidFill>
                        <a:schemeClr val="tx1">
                          <a:alpha val="0"/>
                        </a:scheme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ple SD Gothic Neo" panose="02000300000000000000" pitchFamily="2" charset="-127"/>
                    <a:ea typeface="Apple SD Gothic Neo" panose="02000300000000000000" pitchFamily="2" charset="-127"/>
                  </a:rPr>
                  <a:t>팀 규칙</a:t>
                </a:r>
                <a:endParaRPr lang="en-US" altLang="ko-KR" sz="7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endParaRPr>
              </a:p>
            </p:txBody>
          </p:sp>
        </p:grp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B10621A5-9B84-BF4A-BD8B-C58F7DFE50D4}"/>
                </a:ext>
              </a:extLst>
            </p:cNvPr>
            <p:cNvSpPr txBox="1"/>
            <p:nvPr/>
          </p:nvSpPr>
          <p:spPr>
            <a:xfrm>
              <a:off x="8305644" y="5325512"/>
              <a:ext cx="335306" cy="339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0</a:t>
              </a:r>
              <a:r>
                <a:rPr lang="en-US" altLang="ko-KR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17375E"/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61F8A13E-6BC9-4D4B-B339-B34429F39A8D}"/>
                </a:ext>
              </a:extLst>
            </p:cNvPr>
            <p:cNvSpPr txBox="1"/>
            <p:nvPr/>
          </p:nvSpPr>
          <p:spPr>
            <a:xfrm>
              <a:off x="8620335" y="5336783"/>
              <a:ext cx="750013" cy="339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6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rPr>
                <a:t>수행 일정</a:t>
              </a:r>
              <a:endParaRPr lang="en-US" altLang="ko-KR" sz="7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endParaRPr>
            </a:p>
          </p:txBody>
        </p:sp>
      </p:grpSp>
      <p:sp>
        <p:nvSpPr>
          <p:cNvPr id="153" name="직사각형 152">
            <a:extLst>
              <a:ext uri="{FF2B5EF4-FFF2-40B4-BE49-F238E27FC236}">
                <a16:creationId xmlns:a16="http://schemas.microsoft.com/office/drawing/2014/main" id="{108E8135-D7F5-F049-8F30-51D2A389D6A5}"/>
              </a:ext>
            </a:extLst>
          </p:cNvPr>
          <p:cNvSpPr/>
          <p:nvPr/>
        </p:nvSpPr>
        <p:spPr>
          <a:xfrm>
            <a:off x="436888" y="407064"/>
            <a:ext cx="11262360" cy="6141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BA022412-D80F-2249-81F0-AF183FC73FFE}"/>
              </a:ext>
            </a:extLst>
          </p:cNvPr>
          <p:cNvSpPr txBox="1"/>
          <p:nvPr/>
        </p:nvSpPr>
        <p:spPr>
          <a:xfrm>
            <a:off x="4185339" y="574436"/>
            <a:ext cx="3663182" cy="70788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25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40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54024">
                    <a:schemeClr val="bg1">
                      <a:lumMod val="85000"/>
                      <a:alpha val="0"/>
                    </a:schemeClr>
                  </a:glow>
                </a:effectLst>
                <a:latin typeface="Apple SD Gothic Neo" panose="02000300000000000000" pitchFamily="2" charset="-127"/>
                <a:ea typeface="Apple SD Gothic Neo" panose="02000300000000000000" pitchFamily="2" charset="-127"/>
              </a:rPr>
              <a:t>C O N T E N T S</a:t>
            </a:r>
            <a:endParaRPr kumimoji="0" lang="ko-KR" altLang="en-US" sz="4000" b="1" dirty="0">
              <a:solidFill>
                <a:schemeClr val="tx1">
                  <a:lumMod val="75000"/>
                  <a:lumOff val="25000"/>
                </a:schemeClr>
              </a:solidFill>
              <a:effectLst>
                <a:glow rad="54024">
                  <a:schemeClr val="bg1">
                    <a:lumMod val="85000"/>
                    <a:alpha val="0"/>
                  </a:schemeClr>
                </a:glow>
              </a:effectLst>
              <a:latin typeface="Apple SD Gothic Neo" panose="02000300000000000000" pitchFamily="2" charset="-127"/>
              <a:ea typeface="Apple SD Gothic Neo" panose="02000300000000000000" pitchFamily="2" charset="-127"/>
            </a:endParaRPr>
          </a:p>
        </p:txBody>
      </p:sp>
      <p:pic>
        <p:nvPicPr>
          <p:cNvPr id="194" name="그림 193">
            <a:extLst>
              <a:ext uri="{FF2B5EF4-FFF2-40B4-BE49-F238E27FC236}">
                <a16:creationId xmlns:a16="http://schemas.microsoft.com/office/drawing/2014/main" id="{3106FC3E-934E-7E4F-AB21-F536B8E776D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4467" r="3442"/>
          <a:stretch/>
        </p:blipFill>
        <p:spPr>
          <a:xfrm>
            <a:off x="8844410" y="396466"/>
            <a:ext cx="2854838" cy="2215543"/>
          </a:xfrm>
          <a:prstGeom prst="rect">
            <a:avLst/>
          </a:prstGeom>
        </p:spPr>
      </p:pic>
      <p:grpSp>
        <p:nvGrpSpPr>
          <p:cNvPr id="197" name="그룹 196">
            <a:extLst>
              <a:ext uri="{FF2B5EF4-FFF2-40B4-BE49-F238E27FC236}">
                <a16:creationId xmlns:a16="http://schemas.microsoft.com/office/drawing/2014/main" id="{6F70D6FB-2B47-D64F-8B22-CCB388BDDF66}"/>
              </a:ext>
            </a:extLst>
          </p:cNvPr>
          <p:cNvGrpSpPr/>
          <p:nvPr/>
        </p:nvGrpSpPr>
        <p:grpSpPr>
          <a:xfrm>
            <a:off x="7215747" y="1770792"/>
            <a:ext cx="3016900" cy="4444563"/>
            <a:chOff x="2404869" y="2575355"/>
            <a:chExt cx="2098551" cy="3487888"/>
          </a:xfrm>
        </p:grpSpPr>
        <p:sp>
          <p:nvSpPr>
            <p:cNvPr id="225" name="직사각형 224">
              <a:extLst>
                <a:ext uri="{FF2B5EF4-FFF2-40B4-BE49-F238E27FC236}">
                  <a16:creationId xmlns:a16="http://schemas.microsoft.com/office/drawing/2014/main" id="{28F85C7D-B4B8-5A4C-8C80-A943D8F8D489}"/>
                </a:ext>
              </a:extLst>
            </p:cNvPr>
            <p:cNvSpPr/>
            <p:nvPr/>
          </p:nvSpPr>
          <p:spPr>
            <a:xfrm>
              <a:off x="2482216" y="2926910"/>
              <a:ext cx="2021204" cy="3136333"/>
            </a:xfrm>
            <a:prstGeom prst="rect">
              <a:avLst/>
            </a:prstGeom>
            <a:solidFill>
              <a:srgbClr val="DCDCDC">
                <a:alpha val="23000"/>
              </a:srgbClr>
            </a:solidFill>
            <a:ln w="6350">
              <a:gradFill>
                <a:gsLst>
                  <a:gs pos="0">
                    <a:schemeClr val="bg2"/>
                  </a:gs>
                  <a:gs pos="100000">
                    <a:schemeClr val="bg1">
                      <a:lumMod val="85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226" name="모서리가 둥근 직사각형 225">
              <a:extLst>
                <a:ext uri="{FF2B5EF4-FFF2-40B4-BE49-F238E27FC236}">
                  <a16:creationId xmlns:a16="http://schemas.microsoft.com/office/drawing/2014/main" id="{2917E04B-D17E-334D-BEB2-D8F04D2D97AE}"/>
                </a:ext>
              </a:extLst>
            </p:cNvPr>
            <p:cNvSpPr/>
            <p:nvPr/>
          </p:nvSpPr>
          <p:spPr>
            <a:xfrm rot="2700000">
              <a:off x="3158881" y="2586296"/>
              <a:ext cx="667872" cy="667872"/>
            </a:xfrm>
            <a:prstGeom prst="roundRect">
              <a:avLst>
                <a:gd name="adj" fmla="val 11680"/>
              </a:avLst>
            </a:prstGeom>
            <a:solidFill>
              <a:srgbClr val="0771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/>
            </a:p>
          </p:txBody>
        </p:sp>
        <p:sp>
          <p:nvSpPr>
            <p:cNvPr id="227" name="TextBox 226">
              <a:extLst>
                <a:ext uri="{FF2B5EF4-FFF2-40B4-BE49-F238E27FC236}">
                  <a16:creationId xmlns:a16="http://schemas.microsoft.com/office/drawing/2014/main" id="{45D606FD-E579-C340-B234-507BB72AEA06}"/>
                </a:ext>
              </a:extLst>
            </p:cNvPr>
            <p:cNvSpPr txBox="1"/>
            <p:nvPr/>
          </p:nvSpPr>
          <p:spPr>
            <a:xfrm>
              <a:off x="3234840" y="2575355"/>
              <a:ext cx="500879" cy="6038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ko-KR" sz="44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명조 ExtraBold" panose="02020603020101020101" pitchFamily="18" charset="-127"/>
                  <a:ea typeface="나눔명조 ExtraBold" panose="02020603020101020101" pitchFamily="18" charset="-127"/>
                </a:rPr>
                <a:t>Ⅱ</a:t>
              </a:r>
              <a:endParaRPr lang="ko-KR" altLang="en-US" sz="44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명조 ExtraBold" panose="02020603020101020101" pitchFamily="18" charset="-127"/>
                <a:ea typeface="나눔명조 ExtraBold" panose="02020603020101020101" pitchFamily="18" charset="-127"/>
              </a:endParaRPr>
            </a:p>
          </p:txBody>
        </p:sp>
        <p:sp>
          <p:nvSpPr>
            <p:cNvPr id="228" name="TextBox 227">
              <a:extLst>
                <a:ext uri="{FF2B5EF4-FFF2-40B4-BE49-F238E27FC236}">
                  <a16:creationId xmlns:a16="http://schemas.microsoft.com/office/drawing/2014/main" id="{CAB72A38-1F12-534B-A7E4-2E08DDE29AB8}"/>
                </a:ext>
              </a:extLst>
            </p:cNvPr>
            <p:cNvSpPr txBox="1"/>
            <p:nvPr/>
          </p:nvSpPr>
          <p:spPr>
            <a:xfrm>
              <a:off x="2404869" y="3545517"/>
              <a:ext cx="2022472" cy="7487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280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rPr>
                <a:t>Zero-shot learning</a:t>
              </a:r>
            </a:p>
          </p:txBody>
        </p:sp>
        <p:cxnSp>
          <p:nvCxnSpPr>
            <p:cNvPr id="229" name="직선 연결선 40">
              <a:extLst>
                <a:ext uri="{FF2B5EF4-FFF2-40B4-BE49-F238E27FC236}">
                  <a16:creationId xmlns:a16="http://schemas.microsoft.com/office/drawing/2014/main" id="{1BE6E4D8-604C-8C40-8888-D7E17D92D233}"/>
                </a:ext>
              </a:extLst>
            </p:cNvPr>
            <p:cNvCxnSpPr/>
            <p:nvPr/>
          </p:nvCxnSpPr>
          <p:spPr>
            <a:xfrm>
              <a:off x="2644131" y="4499651"/>
              <a:ext cx="1698580" cy="0"/>
            </a:xfrm>
            <a:prstGeom prst="line">
              <a:avLst/>
            </a:prstGeom>
            <a:ln>
              <a:solidFill>
                <a:srgbClr val="0771B5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8" name="그룹 197">
            <a:extLst>
              <a:ext uri="{FF2B5EF4-FFF2-40B4-BE49-F238E27FC236}">
                <a16:creationId xmlns:a16="http://schemas.microsoft.com/office/drawing/2014/main" id="{66D7A691-1017-C441-A1C7-243B7484652E}"/>
              </a:ext>
            </a:extLst>
          </p:cNvPr>
          <p:cNvGrpSpPr/>
          <p:nvPr/>
        </p:nvGrpSpPr>
        <p:grpSpPr>
          <a:xfrm>
            <a:off x="2210082" y="1812502"/>
            <a:ext cx="2905707" cy="4415578"/>
            <a:chOff x="4640582" y="2586296"/>
            <a:chExt cx="2021204" cy="3482742"/>
          </a:xfrm>
        </p:grpSpPr>
        <p:sp>
          <p:nvSpPr>
            <p:cNvPr id="221" name="직사각형 220">
              <a:extLst>
                <a:ext uri="{FF2B5EF4-FFF2-40B4-BE49-F238E27FC236}">
                  <a16:creationId xmlns:a16="http://schemas.microsoft.com/office/drawing/2014/main" id="{84631BE8-306E-7749-AB69-3BC69A6A0241}"/>
                </a:ext>
              </a:extLst>
            </p:cNvPr>
            <p:cNvSpPr/>
            <p:nvPr/>
          </p:nvSpPr>
          <p:spPr>
            <a:xfrm>
              <a:off x="4640582" y="2916276"/>
              <a:ext cx="2021204" cy="3152762"/>
            </a:xfrm>
            <a:prstGeom prst="rect">
              <a:avLst/>
            </a:prstGeom>
            <a:solidFill>
              <a:srgbClr val="DCDCDC">
                <a:alpha val="23000"/>
              </a:srgbClr>
            </a:solidFill>
            <a:ln w="6350">
              <a:gradFill>
                <a:gsLst>
                  <a:gs pos="0">
                    <a:schemeClr val="bg2"/>
                  </a:gs>
                  <a:gs pos="100000">
                    <a:schemeClr val="bg1">
                      <a:lumMod val="85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/>
            </a:p>
          </p:txBody>
        </p:sp>
        <p:sp>
          <p:nvSpPr>
            <p:cNvPr id="222" name="모서리가 둥근 직사각형 221">
              <a:extLst>
                <a:ext uri="{FF2B5EF4-FFF2-40B4-BE49-F238E27FC236}">
                  <a16:creationId xmlns:a16="http://schemas.microsoft.com/office/drawing/2014/main" id="{D36CAD49-FB73-8E42-BAB9-086702E4DAE3}"/>
                </a:ext>
              </a:extLst>
            </p:cNvPr>
            <p:cNvSpPr/>
            <p:nvPr/>
          </p:nvSpPr>
          <p:spPr>
            <a:xfrm rot="2700000">
              <a:off x="5317247" y="2586296"/>
              <a:ext cx="667872" cy="667872"/>
            </a:xfrm>
            <a:prstGeom prst="roundRect">
              <a:avLst>
                <a:gd name="adj" fmla="val 11680"/>
              </a:avLst>
            </a:prstGeom>
            <a:solidFill>
              <a:srgbClr val="36A4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EB0F0090-6D37-D94F-AE89-D1C5B09B29E6}"/>
                </a:ext>
              </a:extLst>
            </p:cNvPr>
            <p:cNvSpPr txBox="1"/>
            <p:nvPr/>
          </p:nvSpPr>
          <p:spPr>
            <a:xfrm>
              <a:off x="5408280" y="2592447"/>
              <a:ext cx="500879" cy="6068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ko-KR" sz="44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명조 ExtraBold" panose="02020603020101020101" pitchFamily="18" charset="-127"/>
                  <a:ea typeface="나눔명조 ExtraBold" panose="02020603020101020101" pitchFamily="18" charset="-127"/>
                </a:rPr>
                <a:t>Ⅰ</a:t>
              </a:r>
              <a:endParaRPr lang="ko-KR" altLang="en-US" sz="44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명조 ExtraBold" panose="02020603020101020101" pitchFamily="18" charset="-127"/>
                <a:ea typeface="나눔명조 ExtraBold" panose="02020603020101020101" pitchFamily="18" charset="-127"/>
              </a:endParaRPr>
            </a:p>
          </p:txBody>
        </p:sp>
        <p:cxnSp>
          <p:nvCxnSpPr>
            <p:cNvPr id="224" name="직선 연결선 45">
              <a:extLst>
                <a:ext uri="{FF2B5EF4-FFF2-40B4-BE49-F238E27FC236}">
                  <a16:creationId xmlns:a16="http://schemas.microsoft.com/office/drawing/2014/main" id="{91FB6423-CFEA-FE47-B8DD-62B8F11B130F}"/>
                </a:ext>
              </a:extLst>
            </p:cNvPr>
            <p:cNvCxnSpPr/>
            <p:nvPr/>
          </p:nvCxnSpPr>
          <p:spPr>
            <a:xfrm>
              <a:off x="4802497" y="4486931"/>
              <a:ext cx="1698580" cy="0"/>
            </a:xfrm>
            <a:prstGeom prst="line">
              <a:avLst/>
            </a:prstGeom>
            <a:ln>
              <a:solidFill>
                <a:srgbClr val="049BD8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9" name="TextBox 198">
            <a:extLst>
              <a:ext uri="{FF2B5EF4-FFF2-40B4-BE49-F238E27FC236}">
                <a16:creationId xmlns:a16="http://schemas.microsoft.com/office/drawing/2014/main" id="{41620400-DCD1-6D42-8459-D15339AA0DC6}"/>
              </a:ext>
            </a:extLst>
          </p:cNvPr>
          <p:cNvSpPr txBox="1"/>
          <p:nvPr/>
        </p:nvSpPr>
        <p:spPr>
          <a:xfrm>
            <a:off x="2028273" y="3211869"/>
            <a:ext cx="30585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8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Pre-training</a:t>
            </a:r>
          </a:p>
        </p:txBody>
      </p:sp>
      <p:grpSp>
        <p:nvGrpSpPr>
          <p:cNvPr id="210" name="그룹 209">
            <a:extLst>
              <a:ext uri="{FF2B5EF4-FFF2-40B4-BE49-F238E27FC236}">
                <a16:creationId xmlns:a16="http://schemas.microsoft.com/office/drawing/2014/main" id="{8C0DDEB7-3132-9648-A484-A33DC3C5125D}"/>
              </a:ext>
            </a:extLst>
          </p:cNvPr>
          <p:cNvGrpSpPr/>
          <p:nvPr/>
        </p:nvGrpSpPr>
        <p:grpSpPr>
          <a:xfrm>
            <a:off x="2603213" y="4324673"/>
            <a:ext cx="2202589" cy="409728"/>
            <a:chOff x="1014942" y="4591596"/>
            <a:chExt cx="1737272" cy="323169"/>
          </a:xfrm>
        </p:grpSpPr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7BA9E789-5BBA-FD4A-BBB2-917EC18F1478}"/>
                </a:ext>
              </a:extLst>
            </p:cNvPr>
            <p:cNvSpPr txBox="1"/>
            <p:nvPr/>
          </p:nvSpPr>
          <p:spPr>
            <a:xfrm>
              <a:off x="1014942" y="4591596"/>
              <a:ext cx="296112" cy="3231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0</a:t>
              </a: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049BD8"/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C08CE572-140C-4740-94D7-00CC235C1289}"/>
                </a:ext>
              </a:extLst>
            </p:cNvPr>
            <p:cNvSpPr txBox="1"/>
            <p:nvPr/>
          </p:nvSpPr>
          <p:spPr>
            <a:xfrm>
              <a:off x="1359907" y="4600752"/>
              <a:ext cx="1392307" cy="31072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rPr>
                <a:t>사전학습</a:t>
              </a: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rPr>
                <a:t>,</a:t>
              </a:r>
              <a:r>
                <a:rPr lang="ko-KR" altLang="en-US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rPr>
                <a:t>미세조정</a:t>
              </a:r>
            </a:p>
          </p:txBody>
        </p:sp>
      </p:grpSp>
      <p:grpSp>
        <p:nvGrpSpPr>
          <p:cNvPr id="211" name="그룹 210">
            <a:extLst>
              <a:ext uri="{FF2B5EF4-FFF2-40B4-BE49-F238E27FC236}">
                <a16:creationId xmlns:a16="http://schemas.microsoft.com/office/drawing/2014/main" id="{4F7B36C4-453C-E448-9839-96B84893FCDC}"/>
              </a:ext>
            </a:extLst>
          </p:cNvPr>
          <p:cNvGrpSpPr/>
          <p:nvPr/>
        </p:nvGrpSpPr>
        <p:grpSpPr>
          <a:xfrm>
            <a:off x="2583518" y="4791746"/>
            <a:ext cx="2035877" cy="409728"/>
            <a:chOff x="1014942" y="4947972"/>
            <a:chExt cx="1605780" cy="323169"/>
          </a:xfrm>
        </p:grpSpPr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B71977B9-BC50-7645-854C-3696E7509227}"/>
                </a:ext>
              </a:extLst>
            </p:cNvPr>
            <p:cNvSpPr txBox="1"/>
            <p:nvPr/>
          </p:nvSpPr>
          <p:spPr>
            <a:xfrm>
              <a:off x="1014942" y="4947972"/>
              <a:ext cx="322663" cy="3231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0</a:t>
              </a: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049BD8"/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B4D4C4A4-AA60-D249-BF30-73FCAD097314}"/>
                </a:ext>
              </a:extLst>
            </p:cNvPr>
            <p:cNvSpPr txBox="1"/>
            <p:nvPr/>
          </p:nvSpPr>
          <p:spPr>
            <a:xfrm>
              <a:off x="1359907" y="4952256"/>
              <a:ext cx="1260815" cy="31072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rPr>
                <a:t>사전학습의 장점</a:t>
              </a:r>
            </a:p>
          </p:txBody>
        </p:sp>
      </p:grpSp>
      <p:grpSp>
        <p:nvGrpSpPr>
          <p:cNvPr id="212" name="그룹 211">
            <a:extLst>
              <a:ext uri="{FF2B5EF4-FFF2-40B4-BE49-F238E27FC236}">
                <a16:creationId xmlns:a16="http://schemas.microsoft.com/office/drawing/2014/main" id="{1BB41902-6D4C-C943-BDF4-5D58829B3B42}"/>
              </a:ext>
            </a:extLst>
          </p:cNvPr>
          <p:cNvGrpSpPr/>
          <p:nvPr/>
        </p:nvGrpSpPr>
        <p:grpSpPr>
          <a:xfrm>
            <a:off x="2613174" y="5207747"/>
            <a:ext cx="1391469" cy="409729"/>
            <a:chOff x="1014942" y="4935140"/>
            <a:chExt cx="1097507" cy="323169"/>
          </a:xfrm>
        </p:grpSpPr>
        <p:sp>
          <p:nvSpPr>
            <p:cNvPr id="215" name="TextBox 214">
              <a:extLst>
                <a:ext uri="{FF2B5EF4-FFF2-40B4-BE49-F238E27FC236}">
                  <a16:creationId xmlns:a16="http://schemas.microsoft.com/office/drawing/2014/main" id="{0F6CEAA9-A2CC-A741-8F7D-68BBF99FBEB3}"/>
                </a:ext>
              </a:extLst>
            </p:cNvPr>
            <p:cNvSpPr txBox="1"/>
            <p:nvPr/>
          </p:nvSpPr>
          <p:spPr>
            <a:xfrm>
              <a:off x="1014942" y="4935140"/>
              <a:ext cx="322662" cy="3231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0</a:t>
              </a: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049BD8"/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16" name="TextBox 215">
              <a:extLst>
                <a:ext uri="{FF2B5EF4-FFF2-40B4-BE49-F238E27FC236}">
                  <a16:creationId xmlns:a16="http://schemas.microsoft.com/office/drawing/2014/main" id="{C9DE5869-6AFD-A045-8685-FCEF197AEAAC}"/>
                </a:ext>
              </a:extLst>
            </p:cNvPr>
            <p:cNvSpPr txBox="1"/>
            <p:nvPr/>
          </p:nvSpPr>
          <p:spPr>
            <a:xfrm>
              <a:off x="1359907" y="4939425"/>
              <a:ext cx="752542" cy="31072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rPr>
                <a:t>전이학습</a:t>
              </a:r>
            </a:p>
          </p:txBody>
        </p:sp>
      </p:grpSp>
      <p:grpSp>
        <p:nvGrpSpPr>
          <p:cNvPr id="91" name="그룹 90">
            <a:extLst>
              <a:ext uri="{FF2B5EF4-FFF2-40B4-BE49-F238E27FC236}">
                <a16:creationId xmlns:a16="http://schemas.microsoft.com/office/drawing/2014/main" id="{EEB61958-FB8C-3F43-B98D-70039CD1CC24}"/>
              </a:ext>
            </a:extLst>
          </p:cNvPr>
          <p:cNvGrpSpPr/>
          <p:nvPr/>
        </p:nvGrpSpPr>
        <p:grpSpPr>
          <a:xfrm>
            <a:off x="7812411" y="4278016"/>
            <a:ext cx="1458795" cy="409728"/>
            <a:chOff x="1014942" y="4591596"/>
            <a:chExt cx="1150610" cy="323169"/>
          </a:xfrm>
        </p:grpSpPr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B8F6CEE4-EC80-E447-AC5B-01E9DE780540}"/>
                </a:ext>
              </a:extLst>
            </p:cNvPr>
            <p:cNvSpPr txBox="1"/>
            <p:nvPr/>
          </p:nvSpPr>
          <p:spPr>
            <a:xfrm>
              <a:off x="1014942" y="4591596"/>
              <a:ext cx="296112" cy="3231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0</a:t>
              </a: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0373B4"/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80DC395D-BBA9-DA45-8F5C-4360DCFDC266}"/>
                </a:ext>
              </a:extLst>
            </p:cNvPr>
            <p:cNvSpPr txBox="1"/>
            <p:nvPr/>
          </p:nvSpPr>
          <p:spPr>
            <a:xfrm>
              <a:off x="1359907" y="4600754"/>
              <a:ext cx="805645" cy="31072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rPr>
                <a:t>사전 지식</a:t>
              </a:r>
            </a:p>
          </p:txBody>
        </p:sp>
      </p:grpSp>
      <p:grpSp>
        <p:nvGrpSpPr>
          <p:cNvPr id="94" name="그룹 93">
            <a:extLst>
              <a:ext uri="{FF2B5EF4-FFF2-40B4-BE49-F238E27FC236}">
                <a16:creationId xmlns:a16="http://schemas.microsoft.com/office/drawing/2014/main" id="{89B34956-6EC8-B843-BA20-F481FF423A7C}"/>
              </a:ext>
            </a:extLst>
          </p:cNvPr>
          <p:cNvGrpSpPr/>
          <p:nvPr/>
        </p:nvGrpSpPr>
        <p:grpSpPr>
          <a:xfrm>
            <a:off x="7793676" y="4678530"/>
            <a:ext cx="1199110" cy="409728"/>
            <a:chOff x="1014942" y="4947972"/>
            <a:chExt cx="945783" cy="323169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31681D63-3EF8-574F-B450-C159C8DCF551}"/>
                </a:ext>
              </a:extLst>
            </p:cNvPr>
            <p:cNvSpPr txBox="1"/>
            <p:nvPr/>
          </p:nvSpPr>
          <p:spPr>
            <a:xfrm>
              <a:off x="1014942" y="4947972"/>
              <a:ext cx="322663" cy="3231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0</a:t>
              </a: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0373B4"/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CFD38DC6-0DCE-5E4B-A186-68897A21F549}"/>
                </a:ext>
              </a:extLst>
            </p:cNvPr>
            <p:cNvSpPr txBox="1"/>
            <p:nvPr/>
          </p:nvSpPr>
          <p:spPr>
            <a:xfrm>
              <a:off x="1359907" y="4952257"/>
              <a:ext cx="600818" cy="31072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rPr>
                <a:t>중요성</a:t>
              </a:r>
            </a:p>
          </p:txBody>
        </p:sp>
      </p:grpSp>
      <p:grpSp>
        <p:nvGrpSpPr>
          <p:cNvPr id="97" name="그룹 96">
            <a:extLst>
              <a:ext uri="{FF2B5EF4-FFF2-40B4-BE49-F238E27FC236}">
                <a16:creationId xmlns:a16="http://schemas.microsoft.com/office/drawing/2014/main" id="{FB01B73D-7207-E942-BFDF-E8ADFC15A813}"/>
              </a:ext>
            </a:extLst>
          </p:cNvPr>
          <p:cNvGrpSpPr/>
          <p:nvPr/>
        </p:nvGrpSpPr>
        <p:grpSpPr>
          <a:xfrm>
            <a:off x="7779658" y="5207746"/>
            <a:ext cx="2624304" cy="409728"/>
            <a:chOff x="1014942" y="4935140"/>
            <a:chExt cx="2069910" cy="323169"/>
          </a:xfrm>
        </p:grpSpPr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CAFC1407-A10F-BC49-A614-07F34DFE2073}"/>
                </a:ext>
              </a:extLst>
            </p:cNvPr>
            <p:cNvSpPr txBox="1"/>
            <p:nvPr/>
          </p:nvSpPr>
          <p:spPr>
            <a:xfrm>
              <a:off x="1014942" y="4935140"/>
              <a:ext cx="322663" cy="3231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0</a:t>
              </a: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0373B4"/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01F7AA2F-A239-D749-B55C-C1E67A105CE5}"/>
                </a:ext>
              </a:extLst>
            </p:cNvPr>
            <p:cNvSpPr txBox="1"/>
            <p:nvPr/>
          </p:nvSpPr>
          <p:spPr>
            <a:xfrm>
              <a:off x="1359907" y="4939425"/>
              <a:ext cx="1724945" cy="31072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rPr>
                <a:t>Zero-shot learning</a:t>
              </a:r>
              <a:r>
                <a:rPr lang="ko-KR" altLang="en-US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rPr>
                <a:t>이란</a:t>
              </a:r>
            </a:p>
          </p:txBody>
        </p:sp>
      </p:grpSp>
      <p:grpSp>
        <p:nvGrpSpPr>
          <p:cNvPr id="100" name="그룹 99">
            <a:extLst>
              <a:ext uri="{FF2B5EF4-FFF2-40B4-BE49-F238E27FC236}">
                <a16:creationId xmlns:a16="http://schemas.microsoft.com/office/drawing/2014/main" id="{EF3F67FC-D0AC-8943-B958-D1A8CF641240}"/>
              </a:ext>
            </a:extLst>
          </p:cNvPr>
          <p:cNvGrpSpPr/>
          <p:nvPr/>
        </p:nvGrpSpPr>
        <p:grpSpPr>
          <a:xfrm>
            <a:off x="7822524" y="5707855"/>
            <a:ext cx="1391469" cy="409728"/>
            <a:chOff x="1014942" y="4935140"/>
            <a:chExt cx="1097509" cy="323169"/>
          </a:xfrm>
        </p:grpSpPr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45190DEA-BAD4-1945-9469-5127CBBF87F3}"/>
                </a:ext>
              </a:extLst>
            </p:cNvPr>
            <p:cNvSpPr txBox="1"/>
            <p:nvPr/>
          </p:nvSpPr>
          <p:spPr>
            <a:xfrm>
              <a:off x="1014942" y="4935140"/>
              <a:ext cx="326457" cy="3231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0</a:t>
              </a: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0373B4"/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4CD298CB-453D-D04D-A2A1-660812502A19}"/>
                </a:ext>
              </a:extLst>
            </p:cNvPr>
            <p:cNvSpPr txBox="1"/>
            <p:nvPr/>
          </p:nvSpPr>
          <p:spPr>
            <a:xfrm>
              <a:off x="1359907" y="4939425"/>
              <a:ext cx="752544" cy="31072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500" dirty="0" err="1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rPr>
                <a:t>적용예시</a:t>
              </a:r>
              <a:endParaRPr lang="ko-KR" altLang="en-US" sz="15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endParaRPr>
            </a:p>
          </p:txBody>
        </p:sp>
      </p:grpSp>
      <p:grpSp>
        <p:nvGrpSpPr>
          <p:cNvPr id="115" name="그룹 114">
            <a:extLst>
              <a:ext uri="{FF2B5EF4-FFF2-40B4-BE49-F238E27FC236}">
                <a16:creationId xmlns:a16="http://schemas.microsoft.com/office/drawing/2014/main" id="{5CA5A554-5A99-084E-93BB-041E1B40DF52}"/>
              </a:ext>
            </a:extLst>
          </p:cNvPr>
          <p:cNvGrpSpPr/>
          <p:nvPr/>
        </p:nvGrpSpPr>
        <p:grpSpPr>
          <a:xfrm>
            <a:off x="2632697" y="5642502"/>
            <a:ext cx="2487924" cy="409728"/>
            <a:chOff x="1014942" y="4935140"/>
            <a:chExt cx="1962318" cy="323169"/>
          </a:xfrm>
        </p:grpSpPr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FB14D966-CCD7-5E47-9CE6-7C1F14CBEFDB}"/>
                </a:ext>
              </a:extLst>
            </p:cNvPr>
            <p:cNvSpPr txBox="1"/>
            <p:nvPr/>
          </p:nvSpPr>
          <p:spPr>
            <a:xfrm>
              <a:off x="1014942" y="4935140"/>
              <a:ext cx="326456" cy="3231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0</a:t>
              </a:r>
              <a:r>
                <a:rPr lang="en-US" altLang="ko-KR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rgbClr val="049BD8"/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EBB6AD6A-ECEA-BF44-A00D-60309F8AB364}"/>
                </a:ext>
              </a:extLst>
            </p:cNvPr>
            <p:cNvSpPr txBox="1"/>
            <p:nvPr/>
          </p:nvSpPr>
          <p:spPr>
            <a:xfrm>
              <a:off x="1359907" y="4939427"/>
              <a:ext cx="1617353" cy="31072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150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rPr>
                <a:t>전이 학습의 </a:t>
              </a:r>
              <a:r>
                <a:rPr lang="ko-KR" altLang="en-US" sz="1500" dirty="0" err="1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pple SD Gothic Neo" panose="02000300000000000000" pitchFamily="2" charset="-127"/>
                  <a:ea typeface="Apple SD Gothic Neo" panose="02000300000000000000" pitchFamily="2" charset="-127"/>
                </a:rPr>
                <a:t>적용예시</a:t>
              </a:r>
              <a:endParaRPr lang="ko-KR" altLang="en-US" sz="15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70031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D6D41772-7D4D-8445-B358-C4A0F1258BFB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7C29DED4-7AC7-354E-8FB8-86FA4560089B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D4DF464B-2636-0046-8359-1B7C26EFF5C7}"/>
              </a:ext>
            </a:extLst>
          </p:cNvPr>
          <p:cNvSpPr txBox="1"/>
          <p:nvPr/>
        </p:nvSpPr>
        <p:spPr>
          <a:xfrm>
            <a:off x="884159" y="128224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b="1" dirty="0">
                <a:solidFill>
                  <a:schemeClr val="accent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PPT </a:t>
            </a:r>
            <a:r>
              <a:rPr kumimoji="1" lang="ko-KR" altLang="en-US" sz="1050" b="1" dirty="0">
                <a:solidFill>
                  <a:schemeClr val="accent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템플릿 공모전</a:t>
            </a:r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FA2850DD-B4E5-7848-9B90-ED6403775D73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EDB2AD74-809A-054A-8B69-1003858A8EC4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03BD0480-986A-FD46-9C75-108CDC190EEB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7F53FB81-F020-0A42-9C62-604269763C8A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49EE429D-B864-E74A-9DC7-D36340657746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43B53A4D-7926-3946-A873-A537C6E16F9E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6FB0927B-249A-0043-96D7-91F1D58B6D80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C56E94BD-82CB-6143-93D9-A271F0ECD1B2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B21A9831-5EC0-3A47-BE21-4D86E3906C84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FC2686D7-AE02-DD40-B2A3-536556AC8E7F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391EF3F4-E030-4043-94E2-069F8CE85DDC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1C0526A8-E820-694F-91EB-73EFD442FF25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FFEB3D48-E0E1-844F-8688-D638A171A2CE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B6C2585B-FA89-6147-AB7C-97EA6EBDFC15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2C4393B7-8248-5D41-9F2D-573598C76B32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56599F30-31D9-754F-896C-63F2DE0AF992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889474D3-07CA-AF4E-BE3C-EF857AA1AE54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074AACE3-7D3E-2E4F-A57A-7F59AD688A5B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D2A2218-1438-7340-8641-95C3B850E427}"/>
              </a:ext>
            </a:extLst>
          </p:cNvPr>
          <p:cNvSpPr/>
          <p:nvPr/>
        </p:nvSpPr>
        <p:spPr>
          <a:xfrm>
            <a:off x="945747" y="46331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5B9209E-A87C-6E42-BEA2-F6FE256BE089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3CE1CE3B-0D8A-B148-8FDB-1D11A01A5468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D649AE3-AF5A-594B-96AA-9F5B204155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5A4F7E97-FD14-F145-9105-D33D69282FA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ED9BD9BB-113A-E448-8329-64170F90DA85}"/>
              </a:ext>
            </a:extLst>
          </p:cNvPr>
          <p:cNvSpPr txBox="1"/>
          <p:nvPr/>
        </p:nvSpPr>
        <p:spPr>
          <a:xfrm>
            <a:off x="1606540" y="450119"/>
            <a:ext cx="31285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000" b="1" dirty="0"/>
              <a:t>Pre-training</a:t>
            </a:r>
            <a:endParaRPr kumimoji="1" lang="ko-KR" altLang="en-US" sz="2000" b="1" dirty="0"/>
          </a:p>
        </p:txBody>
      </p:sp>
      <p:sp>
        <p:nvSpPr>
          <p:cNvPr id="74" name="삼각형 73">
            <a:extLst>
              <a:ext uri="{FF2B5EF4-FFF2-40B4-BE49-F238E27FC236}">
                <a16:creationId xmlns:a16="http://schemas.microsoft.com/office/drawing/2014/main" id="{7D317237-3DC3-F84B-A42A-7C1B719A2173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DC14D86B-2D6A-3E48-B455-31E4483AB054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55258E2F-95FA-854D-9CA0-99F996940363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8FCC1A8-5E2C-7A48-8867-4710FEA01A57}"/>
              </a:ext>
            </a:extLst>
          </p:cNvPr>
          <p:cNvSpPr txBox="1"/>
          <p:nvPr/>
        </p:nvSpPr>
        <p:spPr>
          <a:xfrm>
            <a:off x="980876" y="380426"/>
            <a:ext cx="5732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1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F0CBD1A1-A79A-7B4D-AD35-AA3E31BCD614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89" name="그룹 88">
            <a:extLst>
              <a:ext uri="{FF2B5EF4-FFF2-40B4-BE49-F238E27FC236}">
                <a16:creationId xmlns:a16="http://schemas.microsoft.com/office/drawing/2014/main" id="{2866E613-5D56-BA44-BFF0-D35221A393F1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85" name="모서리가 둥근 직사각형 84">
              <a:extLst>
                <a:ext uri="{FF2B5EF4-FFF2-40B4-BE49-F238E27FC236}">
                  <a16:creationId xmlns:a16="http://schemas.microsoft.com/office/drawing/2014/main" id="{83EECB7C-B5D7-B940-B4E0-67CC2E5F9460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6" name="모서리가 둥근 직사각형 85">
              <a:extLst>
                <a:ext uri="{FF2B5EF4-FFF2-40B4-BE49-F238E27FC236}">
                  <a16:creationId xmlns:a16="http://schemas.microsoft.com/office/drawing/2014/main" id="{7B9D4BEA-BAA9-B144-8E4A-47F5767C08FC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87" name="모서리가 둥근 직사각형 86">
              <a:extLst>
                <a:ext uri="{FF2B5EF4-FFF2-40B4-BE49-F238E27FC236}">
                  <a16:creationId xmlns:a16="http://schemas.microsoft.com/office/drawing/2014/main" id="{85F072E6-D295-B343-BCB0-96951781FB8E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88" name="모서리가 둥근 직사각형 87">
              <a:extLst>
                <a:ext uri="{FF2B5EF4-FFF2-40B4-BE49-F238E27FC236}">
                  <a16:creationId xmlns:a16="http://schemas.microsoft.com/office/drawing/2014/main" id="{8E8D3DB9-F849-4E4F-833B-EE16CE68639E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C13FFF33-76C8-A542-B785-75931D9C9353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4B0D147D-94CF-2D49-A731-34D10480ED95}"/>
              </a:ext>
            </a:extLst>
          </p:cNvPr>
          <p:cNvSpPr txBox="1"/>
          <p:nvPr/>
        </p:nvSpPr>
        <p:spPr>
          <a:xfrm>
            <a:off x="10148949" y="392753"/>
            <a:ext cx="61174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900" b="1" dirty="0" err="1">
                <a:solidFill>
                  <a:schemeClr val="accent1">
                    <a:lumMod val="50000"/>
                  </a:schemeClr>
                </a:solidFill>
                <a:latin typeface="APPLE SD GOTHICNEO EXTRABOLD" panose="02000300000000000000" pitchFamily="2" charset="-127"/>
                <a:ea typeface="APPLE SD GOTHICNEO EXTRABOLD" panose="02000300000000000000" pitchFamily="2" charset="-127"/>
              </a:rPr>
              <a:t>대목차</a:t>
            </a:r>
            <a:r>
              <a:rPr kumimoji="1" lang="en-US" altLang="ko-KR" sz="900" b="1" dirty="0">
                <a:solidFill>
                  <a:schemeClr val="accent1">
                    <a:lumMod val="50000"/>
                  </a:schemeClr>
                </a:solidFill>
                <a:latin typeface="APPLE SD GOTHICNEO EXTRABOLD" panose="02000300000000000000" pitchFamily="2" charset="-127"/>
                <a:ea typeface="APPLE SD GOTHICNEO EXTRABOLD" panose="02000300000000000000" pitchFamily="2" charset="-127"/>
              </a:rPr>
              <a:t>1</a:t>
            </a:r>
            <a:endParaRPr kumimoji="1" lang="ko-KR" altLang="en-US" sz="900" b="1" dirty="0">
              <a:solidFill>
                <a:schemeClr val="accent1">
                  <a:lumMod val="50000"/>
                </a:schemeClr>
              </a:solidFill>
              <a:latin typeface="APPLE SD GOTHICNEO EXTRABOLD" panose="02000300000000000000" pitchFamily="2" charset="-127"/>
              <a:ea typeface="APPLE SD GOTHICNEO EXTRABOLD" panose="02000300000000000000" pitchFamily="2" charset="-127"/>
            </a:endParaRP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E7B26BB-B000-834F-B40D-8848999DFDBD}"/>
              </a:ext>
            </a:extLst>
          </p:cNvPr>
          <p:cNvSpPr txBox="1"/>
          <p:nvPr/>
        </p:nvSpPr>
        <p:spPr>
          <a:xfrm>
            <a:off x="1002423" y="1441608"/>
            <a:ext cx="6907599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300" b="1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사전학습</a:t>
            </a:r>
            <a:r>
              <a:rPr kumimoji="1" lang="en-US" altLang="ko-KR" sz="1300" b="1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,</a:t>
            </a:r>
            <a:r>
              <a:rPr kumimoji="1" lang="ko-KR" altLang="en-US" sz="1300" b="1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미세 조정</a:t>
            </a: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9666156" y="1530814"/>
            <a:ext cx="1523421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cxnSp>
        <p:nvCxnSpPr>
          <p:cNvPr id="116" name="직선 연결선[R] 115">
            <a:extLst>
              <a:ext uri="{FF2B5EF4-FFF2-40B4-BE49-F238E27FC236}">
                <a16:creationId xmlns:a16="http://schemas.microsoft.com/office/drawing/2014/main" id="{126AE1ED-42F9-DC4A-8B21-A7E89D20AD0A}"/>
              </a:ext>
            </a:extLst>
          </p:cNvPr>
          <p:cNvCxnSpPr>
            <a:cxnSpLocks/>
          </p:cNvCxnSpPr>
          <p:nvPr/>
        </p:nvCxnSpPr>
        <p:spPr>
          <a:xfrm>
            <a:off x="11785494" y="3128095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직선 연결선[R] 116">
            <a:extLst>
              <a:ext uri="{FF2B5EF4-FFF2-40B4-BE49-F238E27FC236}">
                <a16:creationId xmlns:a16="http://schemas.microsoft.com/office/drawing/2014/main" id="{23A0A655-750E-EE4C-A01C-4A04D270B1FB}"/>
              </a:ext>
            </a:extLst>
          </p:cNvPr>
          <p:cNvCxnSpPr>
            <a:cxnSpLocks/>
          </p:cNvCxnSpPr>
          <p:nvPr/>
        </p:nvCxnSpPr>
        <p:spPr>
          <a:xfrm>
            <a:off x="11785494" y="4021439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직선 연결선[R] 117">
            <a:extLst>
              <a:ext uri="{FF2B5EF4-FFF2-40B4-BE49-F238E27FC236}">
                <a16:creationId xmlns:a16="http://schemas.microsoft.com/office/drawing/2014/main" id="{D47AE6B8-EBC1-4C48-A273-BE50A27CCB91}"/>
              </a:ext>
            </a:extLst>
          </p:cNvPr>
          <p:cNvCxnSpPr>
            <a:cxnSpLocks/>
          </p:cNvCxnSpPr>
          <p:nvPr/>
        </p:nvCxnSpPr>
        <p:spPr>
          <a:xfrm>
            <a:off x="11785494" y="4914783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B39F484A-AC7A-A847-B1EA-203ED8C5A4DB}"/>
              </a:ext>
            </a:extLst>
          </p:cNvPr>
          <p:cNvSpPr/>
          <p:nvPr/>
        </p:nvSpPr>
        <p:spPr>
          <a:xfrm>
            <a:off x="11774369" y="1871641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E1FCD51B-4CFF-4D48-9A42-9EDC1078D4A6}"/>
              </a:ext>
            </a:extLst>
          </p:cNvPr>
          <p:cNvSpPr txBox="1"/>
          <p:nvPr/>
        </p:nvSpPr>
        <p:spPr>
          <a:xfrm>
            <a:off x="11829560" y="2103538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1</a:t>
            </a:r>
          </a:p>
        </p:txBody>
      </p: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FA865D97-A090-194C-88BE-CF1FFDB5C0C6}"/>
              </a:ext>
            </a:extLst>
          </p:cNvPr>
          <p:cNvSpPr/>
          <p:nvPr/>
        </p:nvSpPr>
        <p:spPr>
          <a:xfrm>
            <a:off x="11692678" y="1891791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124" name="직사각형 123">
            <a:extLst>
              <a:ext uri="{FF2B5EF4-FFF2-40B4-BE49-F238E27FC236}">
                <a16:creationId xmlns:a16="http://schemas.microsoft.com/office/drawing/2014/main" id="{55FF9543-9DC7-CB4A-9DEB-F12BB2CE6401}"/>
              </a:ext>
            </a:extLst>
          </p:cNvPr>
          <p:cNvSpPr/>
          <p:nvPr/>
        </p:nvSpPr>
        <p:spPr>
          <a:xfrm>
            <a:off x="11692678" y="3147275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sp>
        <p:nvSpPr>
          <p:cNvPr id="127" name="직사각형 126">
            <a:extLst>
              <a:ext uri="{FF2B5EF4-FFF2-40B4-BE49-F238E27FC236}">
                <a16:creationId xmlns:a16="http://schemas.microsoft.com/office/drawing/2014/main" id="{43A98D6C-8096-4D44-8AF8-1119CC9448DA}"/>
              </a:ext>
            </a:extLst>
          </p:cNvPr>
          <p:cNvSpPr/>
          <p:nvPr/>
        </p:nvSpPr>
        <p:spPr>
          <a:xfrm>
            <a:off x="11692678" y="4038192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128" name="직사각형 127">
            <a:extLst>
              <a:ext uri="{FF2B5EF4-FFF2-40B4-BE49-F238E27FC236}">
                <a16:creationId xmlns:a16="http://schemas.microsoft.com/office/drawing/2014/main" id="{8D958237-4DC1-544A-9CBD-397B21E3DB7A}"/>
              </a:ext>
            </a:extLst>
          </p:cNvPr>
          <p:cNvSpPr/>
          <p:nvPr/>
        </p:nvSpPr>
        <p:spPr>
          <a:xfrm>
            <a:off x="11692678" y="4924621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CFE5C14A-6A5F-1D4E-AACD-6290795A0E50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9471140A-AC53-FF43-86A8-7CF43FD9AC99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FE70F178-B020-0448-B3BA-8C65306BB897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2D61BCD9-FAB8-D245-98E4-800A31E25DCB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BABD8095-7230-C14F-BF71-F0CF0E280F51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BD0BCF0D-197F-3747-8462-2F74C6F09622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45C85690-E0AE-FC4A-9AA0-2D9C6A27FC0D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CB4E342F-E2B9-034B-86AF-257B99924775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2AE46567-C279-0F4D-B792-014014F158AC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A2D0EF23-6E2E-7E4E-8848-36636389DAF1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47EB3783-BC3E-7143-BC80-F8E1DA55D1B1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4FB244C7-89AD-134E-BA84-0BEEAC3980DB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5B2726A3-B84D-FB4F-B33A-9A4AE40FA553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3ED726EC-D482-DF40-9E2E-4DBCAADA9B73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EAEE6FAB-DDA7-D24A-9220-42716501446D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5A4CC5AC-8F2E-0741-B80E-E835747D5AC0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1D704BED-662B-6B41-BDD7-6ABA48C9AF42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75FE5EC7-8B42-FA49-B2D8-9B793A19896D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A63066D5-D089-8241-80CF-4B11B0322E4E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038DDE3A-4214-C64C-BB3F-5D626FC7BF27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FAB09580-FF0B-5144-B65B-EAEE47522A4D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4FA139C7-427A-5241-93DC-0DF3CB343A07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FDF816DF-5022-AE49-A056-7AF6A5BF4538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9601E632-640B-004E-9D29-ECC906FEEC92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88E699D1-E4B4-9448-B419-CE5EA4EBEA59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CED792D6-2807-3543-91E3-C1A0EF3B8BE2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17E51BBD-F0C7-E944-BF55-B5554D620F81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FFF6AC63-694E-1F4D-9955-93C287D6046F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BAC33A10-F324-204E-9C89-A50D1260A961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6E47BE37-5146-7841-B92F-8C562D90341D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직사각형 131">
            <a:extLst>
              <a:ext uri="{FF2B5EF4-FFF2-40B4-BE49-F238E27FC236}">
                <a16:creationId xmlns:a16="http://schemas.microsoft.com/office/drawing/2014/main" id="{CC386020-D104-4291-86D0-AF2AC2EBF15A}"/>
              </a:ext>
            </a:extLst>
          </p:cNvPr>
          <p:cNvSpPr/>
          <p:nvPr/>
        </p:nvSpPr>
        <p:spPr>
          <a:xfrm>
            <a:off x="2372360" y="1486994"/>
            <a:ext cx="7218449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8" name="그래픽 7" descr="막대 그래프 상향 추세 단색으로 채워진">
            <a:extLst>
              <a:ext uri="{FF2B5EF4-FFF2-40B4-BE49-F238E27FC236}">
                <a16:creationId xmlns:a16="http://schemas.microsoft.com/office/drawing/2014/main" id="{B516D054-640B-4548-A886-0BEDB81D72C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488910" y="2303550"/>
            <a:ext cx="407155" cy="407155"/>
          </a:xfrm>
          <a:prstGeom prst="rect">
            <a:avLst/>
          </a:prstGeom>
        </p:spPr>
      </p:pic>
      <p:pic>
        <p:nvPicPr>
          <p:cNvPr id="10" name="그래픽 9" descr="그룹 브레인스토밍 단색으로 채워진">
            <a:extLst>
              <a:ext uri="{FF2B5EF4-FFF2-40B4-BE49-F238E27FC236}">
                <a16:creationId xmlns:a16="http://schemas.microsoft.com/office/drawing/2014/main" id="{7D6686E8-633A-4E85-895D-D923A33567C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52300" y="3201603"/>
            <a:ext cx="510098" cy="510098"/>
          </a:xfrm>
          <a:prstGeom prst="rect">
            <a:avLst/>
          </a:prstGeom>
        </p:spPr>
      </p:pic>
      <p:sp>
        <p:nvSpPr>
          <p:cNvPr id="146" name="바닥글 개체 틀 2">
            <a:extLst>
              <a:ext uri="{FF2B5EF4-FFF2-40B4-BE49-F238E27FC236}">
                <a16:creationId xmlns:a16="http://schemas.microsoft.com/office/drawing/2014/main" id="{E07E175F-B563-4A56-AC44-B438ADC98A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54706" y="6492875"/>
            <a:ext cx="4526280" cy="365125"/>
          </a:xfrm>
        </p:spPr>
        <p:txBody>
          <a:bodyPr/>
          <a:lstStyle/>
          <a:p>
            <a:r>
              <a:rPr lang="en-US" altLang="ko-KR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- 4/8</a:t>
            </a:r>
            <a:r>
              <a:rPr lang="ko-KR" altLang="en-US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 </a:t>
            </a:r>
            <a:r>
              <a:rPr lang="en-US" altLang="ko-KR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-</a:t>
            </a:r>
            <a:endParaRPr lang="ko-KR" altLang="en-US" sz="1100" dirty="0">
              <a:latin typeface="Apple SD Gothic Neo" panose="02000300000000000000" pitchFamily="2" charset="-127"/>
              <a:ea typeface="Apple SD Gothic Neo" panose="02000300000000000000" pitchFamily="2" charset="-127"/>
            </a:endParaRPr>
          </a:p>
        </p:txBody>
      </p:sp>
      <p:pic>
        <p:nvPicPr>
          <p:cNvPr id="158" name="그림 157">
            <a:extLst>
              <a:ext uri="{FF2B5EF4-FFF2-40B4-BE49-F238E27FC236}">
                <a16:creationId xmlns:a16="http://schemas.microsoft.com/office/drawing/2014/main" id="{34FB8F2A-9C4E-47B6-9E19-C78F3A001D3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id="{35542327-5CF9-DA8D-B014-624347670567}"/>
              </a:ext>
            </a:extLst>
          </p:cNvPr>
          <p:cNvSpPr/>
          <p:nvPr/>
        </p:nvSpPr>
        <p:spPr>
          <a:xfrm>
            <a:off x="912650" y="1815111"/>
            <a:ext cx="1027692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ko-KR" altLang="en-US" i="0" dirty="0">
                <a:solidFill>
                  <a:schemeClr val="tx1"/>
                </a:solidFill>
                <a:effectLst/>
                <a:latin typeface="-apple-system"/>
              </a:rPr>
              <a:t>사전학습</a:t>
            </a:r>
            <a:r>
              <a:rPr lang="en-US" altLang="ko-KR" i="0" dirty="0">
                <a:solidFill>
                  <a:schemeClr val="tx1"/>
                </a:solidFill>
                <a:effectLst/>
                <a:latin typeface="-apple-system"/>
              </a:rPr>
              <a:t>(</a:t>
            </a:r>
            <a:r>
              <a:rPr lang="en-US" altLang="ko-KR" dirty="0">
                <a:solidFill>
                  <a:schemeClr val="tx1"/>
                </a:solidFill>
                <a:latin typeface="-apple-system"/>
              </a:rPr>
              <a:t>pre-training)</a:t>
            </a:r>
            <a:endParaRPr lang="en-US" altLang="ko-KR" i="0" dirty="0">
              <a:solidFill>
                <a:schemeClr val="tx1"/>
              </a:solidFill>
              <a:effectLst/>
              <a:latin typeface="-apple-system"/>
            </a:endParaRPr>
          </a:p>
          <a:p>
            <a:pPr>
              <a:lnSpc>
                <a:spcPct val="150000"/>
              </a:lnSpc>
            </a:pPr>
            <a:r>
              <a:rPr lang="ko-KR" altLang="en-US" dirty="0">
                <a:solidFill>
                  <a:schemeClr val="tx1"/>
                </a:solidFill>
              </a:rPr>
              <a:t>모델을 특정 태스크에 대해 훈련시키기 전에</a:t>
            </a:r>
            <a:r>
              <a:rPr lang="en-US" altLang="ko-KR" dirty="0">
                <a:solidFill>
                  <a:schemeClr val="tx1"/>
                </a:solidFill>
              </a:rPr>
              <a:t>, </a:t>
            </a:r>
            <a:r>
              <a:rPr lang="ko-KR" altLang="en-US" dirty="0">
                <a:solidFill>
                  <a:schemeClr val="tx1"/>
                </a:solidFill>
              </a:rPr>
              <a:t>일반적인 데이터를 이용해 미리 학습시키는 과정 </a:t>
            </a:r>
            <a:endParaRPr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ko-KR" altLang="en-US" dirty="0">
                <a:solidFill>
                  <a:schemeClr val="tx1"/>
                </a:solidFill>
                <a:latin typeface="-apple-system"/>
              </a:rPr>
              <a:t>이때 </a:t>
            </a:r>
            <a:r>
              <a:rPr lang="ko-KR" altLang="en-US" i="0" dirty="0">
                <a:solidFill>
                  <a:schemeClr val="tx1"/>
                </a:solidFill>
                <a:effectLst/>
                <a:latin typeface="-apple-system"/>
              </a:rPr>
              <a:t>학습하고자 하는 본 문제를 하위 문제</a:t>
            </a:r>
            <a:r>
              <a:rPr lang="en-US" altLang="ko-KR" i="0" dirty="0">
                <a:solidFill>
                  <a:schemeClr val="tx1"/>
                </a:solidFill>
                <a:effectLst/>
                <a:latin typeface="-apple-system"/>
              </a:rPr>
              <a:t>(downstream task)</a:t>
            </a:r>
            <a:r>
              <a:rPr lang="ko-KR" altLang="en-US" i="0" dirty="0">
                <a:solidFill>
                  <a:schemeClr val="tx1"/>
                </a:solidFill>
                <a:effectLst/>
                <a:latin typeface="-apple-system"/>
              </a:rPr>
              <a:t> </a:t>
            </a:r>
            <a:endParaRPr lang="en-US" altLang="ko-KR" dirty="0">
              <a:solidFill>
                <a:schemeClr val="tx1"/>
              </a:solidFill>
              <a:latin typeface="-apple-system"/>
            </a:endParaRPr>
          </a:p>
          <a:p>
            <a:pPr>
              <a:lnSpc>
                <a:spcPct val="150000"/>
              </a:lnSpc>
            </a:pPr>
            <a:endParaRPr lang="en-US" altLang="ko-KR" i="0" dirty="0">
              <a:solidFill>
                <a:schemeClr val="tx1"/>
              </a:solidFill>
              <a:effectLst/>
              <a:latin typeface="-apple-system"/>
            </a:endParaRPr>
          </a:p>
          <a:p>
            <a:pPr>
              <a:lnSpc>
                <a:spcPct val="150000"/>
              </a:lnSpc>
            </a:pPr>
            <a:endParaRPr lang="en-US" altLang="ko-KR" i="0" dirty="0">
              <a:solidFill>
                <a:schemeClr val="tx1"/>
              </a:solidFill>
              <a:effectLst/>
              <a:latin typeface="-apple-system"/>
            </a:endParaRPr>
          </a:p>
          <a:p>
            <a:pPr>
              <a:lnSpc>
                <a:spcPct val="150000"/>
              </a:lnSpc>
            </a:pPr>
            <a:endParaRPr lang="en-US" altLang="ko-KR" i="0" dirty="0">
              <a:solidFill>
                <a:schemeClr val="tx1"/>
              </a:solidFill>
              <a:effectLst/>
              <a:latin typeface="-apple-system"/>
            </a:endParaRPr>
          </a:p>
          <a:p>
            <a:pPr>
              <a:lnSpc>
                <a:spcPct val="150000"/>
              </a:lnSpc>
            </a:pPr>
            <a:r>
              <a:rPr kumimoji="1" lang="ko-KR" altLang="en-US" dirty="0">
                <a:solidFill>
                  <a:schemeClr val="tx1"/>
                </a:solidFill>
              </a:rPr>
              <a:t>미세조정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ko-KR" altLang="en-US" i="0" dirty="0">
                <a:solidFill>
                  <a:schemeClr val="tx1"/>
                </a:solidFill>
                <a:effectLst/>
                <a:latin typeface="-apple-system"/>
              </a:rPr>
              <a:t>사전 학습한 모든 가중치와 더불어 </a:t>
            </a:r>
            <a:r>
              <a:rPr lang="en-US" altLang="ko-KR" i="0" dirty="0">
                <a:solidFill>
                  <a:schemeClr val="tx1"/>
                </a:solidFill>
                <a:effectLst/>
                <a:latin typeface="-apple-system"/>
              </a:rPr>
              <a:t>downstream task</a:t>
            </a:r>
            <a:r>
              <a:rPr lang="ko-KR" altLang="en-US" i="0" dirty="0">
                <a:solidFill>
                  <a:schemeClr val="tx1"/>
                </a:solidFill>
                <a:effectLst/>
                <a:latin typeface="-apple-system"/>
              </a:rPr>
              <a:t>를 위한 최소한의 가중치</a:t>
            </a:r>
            <a:r>
              <a:rPr lang="en-US" altLang="ko-KR" dirty="0">
                <a:solidFill>
                  <a:schemeClr val="tx1"/>
                </a:solidFill>
              </a:rPr>
              <a:t>(</a:t>
            </a:r>
            <a:r>
              <a:rPr lang="ko-KR" altLang="en-US" dirty="0">
                <a:solidFill>
                  <a:schemeClr val="tx1"/>
                </a:solidFill>
              </a:rPr>
              <a:t>새로운 레이어나 파라미터</a:t>
            </a:r>
            <a:r>
              <a:rPr lang="en-US" altLang="ko-KR" dirty="0">
                <a:solidFill>
                  <a:schemeClr val="tx1"/>
                </a:solidFill>
              </a:rPr>
              <a:t>)</a:t>
            </a:r>
            <a:r>
              <a:rPr lang="ko-KR" altLang="en-US" i="0" dirty="0">
                <a:solidFill>
                  <a:schemeClr val="tx1"/>
                </a:solidFill>
                <a:effectLst/>
                <a:latin typeface="-apple-system"/>
              </a:rPr>
              <a:t>를 추가해서 모델을 추가로 학습</a:t>
            </a:r>
            <a:endParaRPr kumimoji="1" lang="ko-KR" alt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48396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3313B153-89BD-8B4D-BE7C-204DB89814F8}"/>
              </a:ext>
            </a:extLst>
          </p:cNvPr>
          <p:cNvSpPr/>
          <p:nvPr/>
        </p:nvSpPr>
        <p:spPr>
          <a:xfrm>
            <a:off x="912650" y="1815111"/>
            <a:ext cx="1027692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kumimoji="1" lang="ko-KR" altLang="en-US" dirty="0">
                <a:solidFill>
                  <a:schemeClr val="tx1"/>
                </a:solidFill>
              </a:rPr>
              <a:t>먼저 학습을 함으로써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⬇</a:t>
            </a: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1.</a:t>
            </a:r>
            <a:r>
              <a:rPr kumimoji="1" lang="ko-KR" altLang="en-US" dirty="0">
                <a:solidFill>
                  <a:schemeClr val="tx1"/>
                </a:solidFill>
              </a:rPr>
              <a:t>학습 비용 절감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2.</a:t>
            </a:r>
            <a:r>
              <a:rPr kumimoji="1" lang="ko-KR" altLang="en-US" dirty="0">
                <a:solidFill>
                  <a:schemeClr val="tx1"/>
                </a:solidFill>
              </a:rPr>
              <a:t>일반적인 패턴을 먼저 </a:t>
            </a:r>
            <a:r>
              <a:rPr kumimoji="1" lang="ko-KR" altLang="en-US" dirty="0" err="1">
                <a:solidFill>
                  <a:schemeClr val="tx1"/>
                </a:solidFill>
              </a:rPr>
              <a:t>학습함으로서</a:t>
            </a:r>
            <a:r>
              <a:rPr kumimoji="1" lang="ko-KR" altLang="en-US" dirty="0">
                <a:solidFill>
                  <a:schemeClr val="tx1"/>
                </a:solidFill>
              </a:rPr>
              <a:t> 특정 작업에서도 좋은 성능을 발휘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3. </a:t>
            </a:r>
            <a:r>
              <a:rPr kumimoji="1" lang="ko-KR" altLang="en-US" dirty="0">
                <a:solidFill>
                  <a:schemeClr val="tx1"/>
                </a:solidFill>
              </a:rPr>
              <a:t>기존에 학습된 지식을 활용하여 데이터가 적어도 성능 유지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ko-KR" altLang="en-US" dirty="0">
              <a:solidFill>
                <a:schemeClr val="tx1"/>
              </a:solidFill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D6D41772-7D4D-8445-B358-C4A0F1258BFB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7C29DED4-7AC7-354E-8FB8-86FA4560089B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FA2850DD-B4E5-7848-9B90-ED6403775D73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EDB2AD74-809A-054A-8B69-1003858A8EC4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03BD0480-986A-FD46-9C75-108CDC190EEB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7F53FB81-F020-0A42-9C62-604269763C8A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49EE429D-B864-E74A-9DC7-D36340657746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43B53A4D-7926-3946-A873-A537C6E16F9E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6FB0927B-249A-0043-96D7-91F1D58B6D80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C56E94BD-82CB-6143-93D9-A271F0ECD1B2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B21A9831-5EC0-3A47-BE21-4D86E3906C84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FC2686D7-AE02-DD40-B2A3-536556AC8E7F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391EF3F4-E030-4043-94E2-069F8CE85DDC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1C0526A8-E820-694F-91EB-73EFD442FF25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FFEB3D48-E0E1-844F-8688-D638A171A2CE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B6C2585B-FA89-6147-AB7C-97EA6EBDFC15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2C4393B7-8248-5D41-9F2D-573598C76B32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56599F30-31D9-754F-896C-63F2DE0AF992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889474D3-07CA-AF4E-BE3C-EF857AA1AE54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074AACE3-7D3E-2E4F-A57A-7F59AD688A5B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D2A2218-1438-7340-8641-95C3B850E427}"/>
              </a:ext>
            </a:extLst>
          </p:cNvPr>
          <p:cNvSpPr/>
          <p:nvPr/>
        </p:nvSpPr>
        <p:spPr>
          <a:xfrm>
            <a:off x="945747" y="46331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5B9209E-A87C-6E42-BEA2-F6FE256BE089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3CE1CE3B-0D8A-B148-8FDB-1D11A01A5468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D649AE3-AF5A-594B-96AA-9F5B204155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5A4F7E97-FD14-F145-9105-D33D69282FA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ED9BD9BB-113A-E448-8329-64170F90DA85}"/>
              </a:ext>
            </a:extLst>
          </p:cNvPr>
          <p:cNvSpPr txBox="1"/>
          <p:nvPr/>
        </p:nvSpPr>
        <p:spPr>
          <a:xfrm>
            <a:off x="1606540" y="450119"/>
            <a:ext cx="31285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2000" b="1" dirty="0" err="1"/>
              <a:t>소목차</a:t>
            </a:r>
            <a:r>
              <a:rPr kumimoji="1" lang="en-US" altLang="ko-KR" sz="2000" b="1" dirty="0"/>
              <a:t>2</a:t>
            </a:r>
            <a:endParaRPr kumimoji="1" lang="ko-KR" altLang="en-US" sz="2000" b="1" dirty="0"/>
          </a:p>
        </p:txBody>
      </p:sp>
      <p:sp>
        <p:nvSpPr>
          <p:cNvPr id="74" name="삼각형 73">
            <a:extLst>
              <a:ext uri="{FF2B5EF4-FFF2-40B4-BE49-F238E27FC236}">
                <a16:creationId xmlns:a16="http://schemas.microsoft.com/office/drawing/2014/main" id="{7D317237-3DC3-F84B-A42A-7C1B719A2173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DC14D86B-2D6A-3E48-B455-31E4483AB054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55258E2F-95FA-854D-9CA0-99F996940363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8FCC1A8-5E2C-7A48-8867-4710FEA01A57}"/>
              </a:ext>
            </a:extLst>
          </p:cNvPr>
          <p:cNvSpPr txBox="1"/>
          <p:nvPr/>
        </p:nvSpPr>
        <p:spPr>
          <a:xfrm>
            <a:off x="980876" y="380426"/>
            <a:ext cx="601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1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F0CBD1A1-A79A-7B4D-AD35-AA3E31BCD614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C13FFF33-76C8-A542-B785-75931D9C9353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E7B26BB-B000-834F-B40D-8848999DFDBD}"/>
              </a:ext>
            </a:extLst>
          </p:cNvPr>
          <p:cNvSpPr txBox="1"/>
          <p:nvPr/>
        </p:nvSpPr>
        <p:spPr>
          <a:xfrm>
            <a:off x="1002423" y="1441608"/>
            <a:ext cx="76037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400" b="1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사전학습의 장점</a:t>
            </a: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9666156" y="1530814"/>
            <a:ext cx="1523421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CFE5C14A-6A5F-1D4E-AACD-6290795A0E50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9471140A-AC53-FF43-86A8-7CF43FD9AC99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FE70F178-B020-0448-B3BA-8C65306BB897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2D61BCD9-FAB8-D245-98E4-800A31E25DCB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BABD8095-7230-C14F-BF71-F0CF0E280F51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BD0BCF0D-197F-3747-8462-2F74C6F09622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45C85690-E0AE-FC4A-9AA0-2D9C6A27FC0D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CB4E342F-E2B9-034B-86AF-257B99924775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2AE46567-C279-0F4D-B792-014014F158AC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A2D0EF23-6E2E-7E4E-8848-36636389DAF1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47EB3783-BC3E-7143-BC80-F8E1DA55D1B1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4FB244C7-89AD-134E-BA84-0BEEAC3980DB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5B2726A3-B84D-FB4F-B33A-9A4AE40FA553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3ED726EC-D482-DF40-9E2E-4DBCAADA9B73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EAEE6FAB-DDA7-D24A-9220-42716501446D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5A4CC5AC-8F2E-0741-B80E-E835747D5AC0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1D704BED-662B-6B41-BDD7-6ABA48C9AF42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75FE5EC7-8B42-FA49-B2D8-9B793A19896D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A63066D5-D089-8241-80CF-4B11B0322E4E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038DDE3A-4214-C64C-BB3F-5D626FC7BF27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FAB09580-FF0B-5144-B65B-EAEE47522A4D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4FA139C7-427A-5241-93DC-0DF3CB343A07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FDF816DF-5022-AE49-A056-7AF6A5BF4538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9601E632-640B-004E-9D29-ECC906FEEC92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88E699D1-E4B4-9448-B419-CE5EA4EBEA59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CED792D6-2807-3543-91E3-C1A0EF3B8BE2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17E51BBD-F0C7-E944-BF55-B5554D620F81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FFF6AC63-694E-1F4D-9955-93C287D6046F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BAC33A10-F324-204E-9C89-A50D1260A961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6E47BE37-5146-7841-B92F-8C562D90341D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CCED390B-8DAF-C142-AC67-037DB0D7E8CF}"/>
              </a:ext>
            </a:extLst>
          </p:cNvPr>
          <p:cNvSpPr txBox="1"/>
          <p:nvPr/>
        </p:nvSpPr>
        <p:spPr>
          <a:xfrm>
            <a:off x="884159" y="128224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b="1" dirty="0">
                <a:solidFill>
                  <a:schemeClr val="accent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PPT </a:t>
            </a:r>
            <a:r>
              <a:rPr kumimoji="1" lang="ko-KR" altLang="en-US" sz="1050" b="1" dirty="0">
                <a:solidFill>
                  <a:schemeClr val="accent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템플릿 공모전</a:t>
            </a:r>
          </a:p>
        </p:txBody>
      </p: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28DDF8A4-32BE-FD41-AD93-E8A70FA1DBC0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cxnSp>
        <p:nvCxnSpPr>
          <p:cNvPr id="161" name="직선 연결선[R] 116">
            <a:extLst>
              <a:ext uri="{FF2B5EF4-FFF2-40B4-BE49-F238E27FC236}">
                <a16:creationId xmlns:a16="http://schemas.microsoft.com/office/drawing/2014/main" id="{CA13AF10-A9B5-40BA-A16A-3F29FB0E3ED5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직선 연결선[R] 117">
            <a:extLst>
              <a:ext uri="{FF2B5EF4-FFF2-40B4-BE49-F238E27FC236}">
                <a16:creationId xmlns:a16="http://schemas.microsoft.com/office/drawing/2014/main" id="{2F206824-582F-4BC3-83E6-71CC6322F113}"/>
              </a:ext>
            </a:extLst>
          </p:cNvPr>
          <p:cNvCxnSpPr>
            <a:cxnSpLocks/>
          </p:cNvCxnSpPr>
          <p:nvPr/>
        </p:nvCxnSpPr>
        <p:spPr>
          <a:xfrm>
            <a:off x="11785494" y="519833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직사각형 163">
            <a:extLst>
              <a:ext uri="{FF2B5EF4-FFF2-40B4-BE49-F238E27FC236}">
                <a16:creationId xmlns:a16="http://schemas.microsoft.com/office/drawing/2014/main" id="{ACD922D0-6C87-4861-8265-2C788CB6482E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165" name="직사각형 164">
            <a:extLst>
              <a:ext uri="{FF2B5EF4-FFF2-40B4-BE49-F238E27FC236}">
                <a16:creationId xmlns:a16="http://schemas.microsoft.com/office/drawing/2014/main" id="{226F02A7-55DB-4F5B-9451-47F72E46E1FF}"/>
              </a:ext>
            </a:extLst>
          </p:cNvPr>
          <p:cNvSpPr/>
          <p:nvPr/>
        </p:nvSpPr>
        <p:spPr>
          <a:xfrm>
            <a:off x="11692678" y="4259401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166" name="직사각형 165">
            <a:extLst>
              <a:ext uri="{FF2B5EF4-FFF2-40B4-BE49-F238E27FC236}">
                <a16:creationId xmlns:a16="http://schemas.microsoft.com/office/drawing/2014/main" id="{1C79E014-338A-47D7-A841-EC23CEEC6C05}"/>
              </a:ext>
            </a:extLst>
          </p:cNvPr>
          <p:cNvSpPr/>
          <p:nvPr/>
        </p:nvSpPr>
        <p:spPr>
          <a:xfrm>
            <a:off x="11692678" y="5208176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cxnSp>
        <p:nvCxnSpPr>
          <p:cNvPr id="170" name="직선 연결선[R] 93">
            <a:extLst>
              <a:ext uri="{FF2B5EF4-FFF2-40B4-BE49-F238E27FC236}">
                <a16:creationId xmlns:a16="http://schemas.microsoft.com/office/drawing/2014/main" id="{4F95B1A2-B758-4EA9-A113-352A976AFB46}"/>
              </a:ext>
            </a:extLst>
          </p:cNvPr>
          <p:cNvCxnSpPr>
            <a:cxnSpLocks/>
          </p:cNvCxnSpPr>
          <p:nvPr/>
        </p:nvCxnSpPr>
        <p:spPr>
          <a:xfrm>
            <a:off x="11785494" y="4195079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직사각형 170">
            <a:extLst>
              <a:ext uri="{FF2B5EF4-FFF2-40B4-BE49-F238E27FC236}">
                <a16:creationId xmlns:a16="http://schemas.microsoft.com/office/drawing/2014/main" id="{E1D39C09-826E-4329-BA68-9D6987BF94E3}"/>
              </a:ext>
            </a:extLst>
          </p:cNvPr>
          <p:cNvSpPr/>
          <p:nvPr/>
        </p:nvSpPr>
        <p:spPr>
          <a:xfrm>
            <a:off x="11789546" y="2916414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68FC0CC6-B0BE-45A4-872C-72557E1D6826}"/>
              </a:ext>
            </a:extLst>
          </p:cNvPr>
          <p:cNvSpPr txBox="1"/>
          <p:nvPr/>
        </p:nvSpPr>
        <p:spPr>
          <a:xfrm>
            <a:off x="11829560" y="3170522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2</a:t>
            </a:r>
          </a:p>
        </p:txBody>
      </p:sp>
      <p:sp>
        <p:nvSpPr>
          <p:cNvPr id="175" name="직사각형 174">
            <a:extLst>
              <a:ext uri="{FF2B5EF4-FFF2-40B4-BE49-F238E27FC236}">
                <a16:creationId xmlns:a16="http://schemas.microsoft.com/office/drawing/2014/main" id="{8C2162B2-FA3A-4DC3-8636-610C06A248B3}"/>
              </a:ext>
            </a:extLst>
          </p:cNvPr>
          <p:cNvSpPr/>
          <p:nvPr/>
        </p:nvSpPr>
        <p:spPr>
          <a:xfrm>
            <a:off x="11692678" y="2958775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grpSp>
        <p:nvGrpSpPr>
          <p:cNvPr id="176" name="그룹 175">
            <a:extLst>
              <a:ext uri="{FF2B5EF4-FFF2-40B4-BE49-F238E27FC236}">
                <a16:creationId xmlns:a16="http://schemas.microsoft.com/office/drawing/2014/main" id="{3F8A0B1F-54C5-4E26-A82D-DD52D357D122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177" name="모서리가 둥근 직사각형 84">
              <a:extLst>
                <a:ext uri="{FF2B5EF4-FFF2-40B4-BE49-F238E27FC236}">
                  <a16:creationId xmlns:a16="http://schemas.microsoft.com/office/drawing/2014/main" id="{2F5BE5E7-C9FC-4CB0-AA7E-29FDD3E354F8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09" name="모서리가 둥근 직사각형 85">
              <a:extLst>
                <a:ext uri="{FF2B5EF4-FFF2-40B4-BE49-F238E27FC236}">
                  <a16:creationId xmlns:a16="http://schemas.microsoft.com/office/drawing/2014/main" id="{CA4831FD-2A14-4E01-9E27-F98B8E2A1E7C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10" name="모서리가 둥근 직사각형 86">
              <a:extLst>
                <a:ext uri="{FF2B5EF4-FFF2-40B4-BE49-F238E27FC236}">
                  <a16:creationId xmlns:a16="http://schemas.microsoft.com/office/drawing/2014/main" id="{BCDB427C-0F8B-4209-9DD6-D8FD1F9CE19B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11" name="모서리가 둥근 직사각형 87">
              <a:extLst>
                <a:ext uri="{FF2B5EF4-FFF2-40B4-BE49-F238E27FC236}">
                  <a16:creationId xmlns:a16="http://schemas.microsoft.com/office/drawing/2014/main" id="{36A0D9E6-68C7-43E3-B5EA-B0539FC91F58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sp>
        <p:nvSpPr>
          <p:cNvPr id="212" name="TextBox 211">
            <a:extLst>
              <a:ext uri="{FF2B5EF4-FFF2-40B4-BE49-F238E27FC236}">
                <a16:creationId xmlns:a16="http://schemas.microsoft.com/office/drawing/2014/main" id="{9DC662BA-3795-4394-B707-13BFBC92C364}"/>
              </a:ext>
            </a:extLst>
          </p:cNvPr>
          <p:cNvSpPr txBox="1"/>
          <p:nvPr/>
        </p:nvSpPr>
        <p:spPr>
          <a:xfrm>
            <a:off x="10491400" y="392753"/>
            <a:ext cx="8612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900" b="1" dirty="0" err="1">
                <a:solidFill>
                  <a:schemeClr val="accent1">
                    <a:lumMod val="50000"/>
                  </a:schemeClr>
                </a:solidFill>
                <a:latin typeface="APPLE SD GOTHICNEO EXTRABOLD" panose="02000300000000000000" pitchFamily="2" charset="-127"/>
                <a:ea typeface="APPLE SD GOTHICNEO EXTRABOLD" panose="02000300000000000000" pitchFamily="2" charset="-127"/>
              </a:rPr>
              <a:t>대목차</a:t>
            </a:r>
            <a:r>
              <a:rPr kumimoji="1" lang="en-US" altLang="ko-KR" sz="900" b="1" dirty="0">
                <a:solidFill>
                  <a:schemeClr val="accent1">
                    <a:lumMod val="50000"/>
                  </a:schemeClr>
                </a:solidFill>
                <a:latin typeface="APPLE SD GOTHICNEO EXTRABOLD" panose="02000300000000000000" pitchFamily="2" charset="-127"/>
                <a:ea typeface="APPLE SD GOTHICNEO EXTRABOLD" panose="02000300000000000000" pitchFamily="2" charset="-127"/>
              </a:rPr>
              <a:t>2</a:t>
            </a:r>
            <a:endParaRPr kumimoji="1" lang="ko-KR" altLang="en-US" sz="900" b="1" dirty="0">
              <a:solidFill>
                <a:schemeClr val="accent1">
                  <a:lumMod val="50000"/>
                </a:schemeClr>
              </a:solidFill>
              <a:latin typeface="APPLE SD GOTHICNEO EXTRABOLD" panose="02000300000000000000" pitchFamily="2" charset="-127"/>
              <a:ea typeface="APPLE SD GOTHICNEO EXTRABOLD" panose="02000300000000000000" pitchFamily="2" charset="-127"/>
            </a:endParaRPr>
          </a:p>
        </p:txBody>
      </p:sp>
      <p:sp>
        <p:nvSpPr>
          <p:cNvPr id="213" name="바닥글 개체 틀 2">
            <a:extLst>
              <a:ext uri="{FF2B5EF4-FFF2-40B4-BE49-F238E27FC236}">
                <a16:creationId xmlns:a16="http://schemas.microsoft.com/office/drawing/2014/main" id="{E079B939-CD35-493F-8C91-8D314E8A14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54706" y="6492875"/>
            <a:ext cx="4526280" cy="365125"/>
          </a:xfrm>
        </p:spPr>
        <p:txBody>
          <a:bodyPr/>
          <a:lstStyle/>
          <a:p>
            <a:r>
              <a:rPr lang="en-US" altLang="ko-KR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- 5/8</a:t>
            </a:r>
            <a:r>
              <a:rPr lang="ko-KR" altLang="en-US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 </a:t>
            </a:r>
            <a:r>
              <a:rPr lang="en-US" altLang="ko-KR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-</a:t>
            </a:r>
            <a:endParaRPr lang="ko-KR" altLang="en-US" sz="1100" dirty="0">
              <a:latin typeface="Apple SD Gothic Neo" panose="02000300000000000000" pitchFamily="2" charset="-127"/>
              <a:ea typeface="Apple SD Gothic Neo" panose="02000300000000000000" pitchFamily="2" charset="-127"/>
            </a:endParaRPr>
          </a:p>
        </p:txBody>
      </p:sp>
      <p:pic>
        <p:nvPicPr>
          <p:cNvPr id="214" name="그림 213">
            <a:extLst>
              <a:ext uri="{FF2B5EF4-FFF2-40B4-BE49-F238E27FC236}">
                <a16:creationId xmlns:a16="http://schemas.microsoft.com/office/drawing/2014/main" id="{E0F41D8A-A7DE-4A42-B270-E026976E1F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4264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D6D41772-7D4D-8445-B358-C4A0F1258BFB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7C29DED4-7AC7-354E-8FB8-86FA4560089B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FA2850DD-B4E5-7848-9B90-ED6403775D73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EDB2AD74-809A-054A-8B69-1003858A8EC4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03BD0480-986A-FD46-9C75-108CDC190EEB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7F53FB81-F020-0A42-9C62-604269763C8A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49EE429D-B864-E74A-9DC7-D36340657746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43B53A4D-7926-3946-A873-A537C6E16F9E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6FB0927B-249A-0043-96D7-91F1D58B6D80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C56E94BD-82CB-6143-93D9-A271F0ECD1B2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B21A9831-5EC0-3A47-BE21-4D86E3906C84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FC2686D7-AE02-DD40-B2A3-536556AC8E7F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391EF3F4-E030-4043-94E2-069F8CE85DDC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1C0526A8-E820-694F-91EB-73EFD442FF25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FFEB3D48-E0E1-844F-8688-D638A171A2CE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B6C2585B-FA89-6147-AB7C-97EA6EBDFC15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2C4393B7-8248-5D41-9F2D-573598C76B32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56599F30-31D9-754F-896C-63F2DE0AF992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889474D3-07CA-AF4E-BE3C-EF857AA1AE54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074AACE3-7D3E-2E4F-A57A-7F59AD688A5B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D2A2218-1438-7340-8641-95C3B850E427}"/>
              </a:ext>
            </a:extLst>
          </p:cNvPr>
          <p:cNvSpPr/>
          <p:nvPr/>
        </p:nvSpPr>
        <p:spPr>
          <a:xfrm>
            <a:off x="945747" y="46331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dirty="0">
                <a:solidFill>
                  <a:schemeClr val="tx1"/>
                </a:solidFill>
              </a:rPr>
              <a:t>Pre-training</a:t>
            </a:r>
            <a:r>
              <a:rPr kumimoji="1" lang="ko-KR" altLang="en-US" dirty="0" err="1"/>
              <a:t>ㅇㄹ</a:t>
            </a:r>
            <a:endParaRPr kumimoji="1" lang="ko-KR" altLang="en-US" dirty="0"/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5B9209E-A87C-6E42-BEA2-F6FE256BE089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3CE1CE3B-0D8A-B148-8FDB-1D11A01A5468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D649AE3-AF5A-594B-96AA-9F5B204155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5A4F7E97-FD14-F145-9105-D33D69282FA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7D317237-3DC3-F84B-A42A-7C1B719A2173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DC14D86B-2D6A-3E48-B455-31E4483AB054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55258E2F-95FA-854D-9CA0-99F996940363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8FCC1A8-5E2C-7A48-8867-4710FEA01A57}"/>
              </a:ext>
            </a:extLst>
          </p:cNvPr>
          <p:cNvSpPr txBox="1"/>
          <p:nvPr/>
        </p:nvSpPr>
        <p:spPr>
          <a:xfrm>
            <a:off x="980876" y="380426"/>
            <a:ext cx="601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1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F0CBD1A1-A79A-7B4D-AD35-AA3E31BCD614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C13FFF33-76C8-A542-B785-75931D9C9353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98">
            <a:extLst>
              <a:ext uri="{FF2B5EF4-FFF2-40B4-BE49-F238E27FC236}">
                <a16:creationId xmlns:a16="http://schemas.microsoft.com/office/drawing/2014/main" id="{49C5D1A4-E774-CC4C-BADE-8E5B703FF6D2}"/>
              </a:ext>
            </a:extLst>
          </p:cNvPr>
          <p:cNvSpPr txBox="1"/>
          <p:nvPr/>
        </p:nvSpPr>
        <p:spPr>
          <a:xfrm>
            <a:off x="864604" y="996036"/>
            <a:ext cx="76037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200" dirty="0" err="1">
                <a:solidFill>
                  <a:schemeClr val="bg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거버닌</a:t>
            </a:r>
            <a:r>
              <a:rPr kumimoji="1" lang="ko-KR" altLang="en-US" sz="1200" dirty="0">
                <a:solidFill>
                  <a:schemeClr val="bg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 메시지</a:t>
            </a:r>
            <a:r>
              <a:rPr kumimoji="1" lang="en-US" altLang="ko-KR" sz="1200" dirty="0">
                <a:solidFill>
                  <a:schemeClr val="bg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1</a:t>
            </a:r>
            <a:endParaRPr kumimoji="1" lang="ko-KR" altLang="en-US" sz="1200" dirty="0">
              <a:solidFill>
                <a:schemeClr val="bg1">
                  <a:lumMod val="50000"/>
                </a:schemeClr>
              </a:solidFill>
              <a:latin typeface="Apple SD Gothic Neo" panose="02000300000000000000" pitchFamily="2" charset="-127"/>
              <a:ea typeface="Apple SD Gothic Neo" panose="02000300000000000000" pitchFamily="2" charset="-127"/>
            </a:endParaRP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E7B26BB-B000-834F-B40D-8848999DFDBD}"/>
              </a:ext>
            </a:extLst>
          </p:cNvPr>
          <p:cNvSpPr txBox="1"/>
          <p:nvPr/>
        </p:nvSpPr>
        <p:spPr>
          <a:xfrm>
            <a:off x="1002423" y="1441608"/>
            <a:ext cx="76037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400" b="1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전이학습</a:t>
            </a: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9666156" y="1530814"/>
            <a:ext cx="1523421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CFE5C14A-6A5F-1D4E-AACD-6290795A0E50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9471140A-AC53-FF43-86A8-7CF43FD9AC99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FE70F178-B020-0448-B3BA-8C65306BB897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2D61BCD9-FAB8-D245-98E4-800A31E25DCB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BABD8095-7230-C14F-BF71-F0CF0E280F51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BD0BCF0D-197F-3747-8462-2F74C6F09622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45C85690-E0AE-FC4A-9AA0-2D9C6A27FC0D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CB4E342F-E2B9-034B-86AF-257B99924775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2AE46567-C279-0F4D-B792-014014F158AC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A2D0EF23-6E2E-7E4E-8848-36636389DAF1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47EB3783-BC3E-7143-BC80-F8E1DA55D1B1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4FB244C7-89AD-134E-BA84-0BEEAC3980DB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5B2726A3-B84D-FB4F-B33A-9A4AE40FA553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3ED726EC-D482-DF40-9E2E-4DBCAADA9B73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EAEE6FAB-DDA7-D24A-9220-42716501446D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5A4CC5AC-8F2E-0741-B80E-E835747D5AC0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1D704BED-662B-6B41-BDD7-6ABA48C9AF42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75FE5EC7-8B42-FA49-B2D8-9B793A19896D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A63066D5-D089-8241-80CF-4B11B0322E4E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038DDE3A-4214-C64C-BB3F-5D626FC7BF27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FAB09580-FF0B-5144-B65B-EAEE47522A4D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4FA139C7-427A-5241-93DC-0DF3CB343A07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FDF816DF-5022-AE49-A056-7AF6A5BF4538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9601E632-640B-004E-9D29-ECC906FEEC92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88E699D1-E4B4-9448-B419-CE5EA4EBEA59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CED792D6-2807-3543-91E3-C1A0EF3B8BE2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17E51BBD-F0C7-E944-BF55-B5554D620F81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FFF6AC63-694E-1F4D-9955-93C287D6046F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BAC33A10-F324-204E-9C89-A50D1260A961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6E47BE37-5146-7841-B92F-8C562D90341D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CCED390B-8DAF-C142-AC67-037DB0D7E8CF}"/>
              </a:ext>
            </a:extLst>
          </p:cNvPr>
          <p:cNvSpPr txBox="1"/>
          <p:nvPr/>
        </p:nvSpPr>
        <p:spPr>
          <a:xfrm>
            <a:off x="884159" y="128224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b="1" dirty="0">
                <a:solidFill>
                  <a:schemeClr val="accent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PPT </a:t>
            </a:r>
            <a:r>
              <a:rPr kumimoji="1" lang="ko-KR" altLang="en-US" sz="1050" b="1" dirty="0">
                <a:solidFill>
                  <a:schemeClr val="accent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템플릿 공모전</a:t>
            </a:r>
          </a:p>
        </p:txBody>
      </p: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28DDF8A4-32BE-FD41-AD93-E8A70FA1DBC0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3" name="바닥글 개체 틀 2">
            <a:extLst>
              <a:ext uri="{FF2B5EF4-FFF2-40B4-BE49-F238E27FC236}">
                <a16:creationId xmlns:a16="http://schemas.microsoft.com/office/drawing/2014/main" id="{E079B939-CD35-493F-8C91-8D314E8A14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54706" y="6492875"/>
            <a:ext cx="4526280" cy="365125"/>
          </a:xfrm>
        </p:spPr>
        <p:txBody>
          <a:bodyPr/>
          <a:lstStyle/>
          <a:p>
            <a:r>
              <a:rPr lang="en-US" altLang="ko-KR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- 6/8</a:t>
            </a:r>
            <a:r>
              <a:rPr lang="ko-KR" altLang="en-US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 </a:t>
            </a:r>
            <a:r>
              <a:rPr lang="en-US" altLang="ko-KR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-</a:t>
            </a:r>
            <a:endParaRPr lang="ko-KR" altLang="en-US" sz="1100" dirty="0">
              <a:latin typeface="Apple SD Gothic Neo" panose="02000300000000000000" pitchFamily="2" charset="-127"/>
              <a:ea typeface="Apple SD Gothic Neo" panose="02000300000000000000" pitchFamily="2" charset="-127"/>
            </a:endParaRPr>
          </a:p>
        </p:txBody>
      </p:sp>
      <p:pic>
        <p:nvPicPr>
          <p:cNvPr id="214" name="그림 213">
            <a:extLst>
              <a:ext uri="{FF2B5EF4-FFF2-40B4-BE49-F238E27FC236}">
                <a16:creationId xmlns:a16="http://schemas.microsoft.com/office/drawing/2014/main" id="{E0F41D8A-A7DE-4A42-B270-E026976E1F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sp>
        <p:nvSpPr>
          <p:cNvPr id="222" name="직사각형 221">
            <a:extLst>
              <a:ext uri="{FF2B5EF4-FFF2-40B4-BE49-F238E27FC236}">
                <a16:creationId xmlns:a16="http://schemas.microsoft.com/office/drawing/2014/main" id="{F48A87E1-7D5D-4278-AABB-38D6B50A464F}"/>
              </a:ext>
            </a:extLst>
          </p:cNvPr>
          <p:cNvSpPr/>
          <p:nvPr/>
        </p:nvSpPr>
        <p:spPr>
          <a:xfrm>
            <a:off x="9754810" y="3111273"/>
            <a:ext cx="1415772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성장목표</a:t>
            </a: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에 기반한 </a:t>
            </a:r>
            <a:br>
              <a:rPr lang="en-US" altLang="ko-KR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</a:b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슬로건 제시</a:t>
            </a:r>
            <a:endParaRPr lang="ko-KR" altLang="en-US" sz="1200" dirty="0">
              <a:solidFill>
                <a:schemeClr val="bg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cxnSp>
        <p:nvCxnSpPr>
          <p:cNvPr id="263" name="직선 연결선[R] 116">
            <a:extLst>
              <a:ext uri="{FF2B5EF4-FFF2-40B4-BE49-F238E27FC236}">
                <a16:creationId xmlns:a16="http://schemas.microsoft.com/office/drawing/2014/main" id="{4020C426-EC37-4A1A-AB1E-587457117BA6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직사각형 263">
            <a:extLst>
              <a:ext uri="{FF2B5EF4-FFF2-40B4-BE49-F238E27FC236}">
                <a16:creationId xmlns:a16="http://schemas.microsoft.com/office/drawing/2014/main" id="{E0CC7BBB-003A-4F13-B88A-D51E137D6892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265" name="직사각형 264">
            <a:extLst>
              <a:ext uri="{FF2B5EF4-FFF2-40B4-BE49-F238E27FC236}">
                <a16:creationId xmlns:a16="http://schemas.microsoft.com/office/drawing/2014/main" id="{F7221A5E-B4B7-4EBE-B296-8FBAF224B414}"/>
              </a:ext>
            </a:extLst>
          </p:cNvPr>
          <p:cNvSpPr/>
          <p:nvPr/>
        </p:nvSpPr>
        <p:spPr>
          <a:xfrm>
            <a:off x="11692678" y="5025663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266" name="직사각형 265">
            <a:extLst>
              <a:ext uri="{FF2B5EF4-FFF2-40B4-BE49-F238E27FC236}">
                <a16:creationId xmlns:a16="http://schemas.microsoft.com/office/drawing/2014/main" id="{EB068123-895F-4B71-A9BB-4B673CBB8EE9}"/>
              </a:ext>
            </a:extLst>
          </p:cNvPr>
          <p:cNvSpPr/>
          <p:nvPr/>
        </p:nvSpPr>
        <p:spPr>
          <a:xfrm>
            <a:off x="11692678" y="2834264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cxnSp>
        <p:nvCxnSpPr>
          <p:cNvPr id="267" name="직선 연결선[R] 111">
            <a:extLst>
              <a:ext uri="{FF2B5EF4-FFF2-40B4-BE49-F238E27FC236}">
                <a16:creationId xmlns:a16="http://schemas.microsoft.com/office/drawing/2014/main" id="{671AF624-D0A4-4B38-B316-AD246C504B73}"/>
              </a:ext>
            </a:extLst>
          </p:cNvPr>
          <p:cNvCxnSpPr>
            <a:cxnSpLocks/>
          </p:cNvCxnSpPr>
          <p:nvPr/>
        </p:nvCxnSpPr>
        <p:spPr>
          <a:xfrm>
            <a:off x="11785494" y="2825264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직선 연결선[R] 112">
            <a:extLst>
              <a:ext uri="{FF2B5EF4-FFF2-40B4-BE49-F238E27FC236}">
                <a16:creationId xmlns:a16="http://schemas.microsoft.com/office/drawing/2014/main" id="{312420E0-97F4-4454-8C2B-683D83E7FEEE}"/>
              </a:ext>
            </a:extLst>
          </p:cNvPr>
          <p:cNvCxnSpPr>
            <a:cxnSpLocks/>
          </p:cNvCxnSpPr>
          <p:nvPr/>
        </p:nvCxnSpPr>
        <p:spPr>
          <a:xfrm>
            <a:off x="11785494" y="5016664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9" name="직사각형 268">
            <a:extLst>
              <a:ext uri="{FF2B5EF4-FFF2-40B4-BE49-F238E27FC236}">
                <a16:creationId xmlns:a16="http://schemas.microsoft.com/office/drawing/2014/main" id="{B9279471-A706-4E61-9AC0-3D1BE29DC140}"/>
              </a:ext>
            </a:extLst>
          </p:cNvPr>
          <p:cNvSpPr/>
          <p:nvPr/>
        </p:nvSpPr>
        <p:spPr>
          <a:xfrm>
            <a:off x="11789546" y="3737999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70" name="직사각형 269">
            <a:extLst>
              <a:ext uri="{FF2B5EF4-FFF2-40B4-BE49-F238E27FC236}">
                <a16:creationId xmlns:a16="http://schemas.microsoft.com/office/drawing/2014/main" id="{E7C7BC9D-7A23-4879-88A9-5ED82043A8F0}"/>
              </a:ext>
            </a:extLst>
          </p:cNvPr>
          <p:cNvSpPr/>
          <p:nvPr/>
        </p:nvSpPr>
        <p:spPr>
          <a:xfrm>
            <a:off x="11692678" y="3780360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00A95667-8AE4-433F-898C-9A408F7EF901}"/>
              </a:ext>
            </a:extLst>
          </p:cNvPr>
          <p:cNvSpPr txBox="1"/>
          <p:nvPr/>
        </p:nvSpPr>
        <p:spPr>
          <a:xfrm>
            <a:off x="11829560" y="4005554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3</a:t>
            </a:r>
            <a:endParaRPr kumimoji="1" lang="ko-KR" altLang="en-US" sz="800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72" name="그룹 271">
            <a:extLst>
              <a:ext uri="{FF2B5EF4-FFF2-40B4-BE49-F238E27FC236}">
                <a16:creationId xmlns:a16="http://schemas.microsoft.com/office/drawing/2014/main" id="{3EF7C602-4CC4-48CA-9CAA-23CFE4DF75BC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273" name="모서리가 둥근 직사각형 94">
              <a:extLst>
                <a:ext uri="{FF2B5EF4-FFF2-40B4-BE49-F238E27FC236}">
                  <a16:creationId xmlns:a16="http://schemas.microsoft.com/office/drawing/2014/main" id="{5DC65483-1BD2-4332-8954-9B20A4C5D73E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74" name="모서리가 둥근 직사각형 97">
              <a:extLst>
                <a:ext uri="{FF2B5EF4-FFF2-40B4-BE49-F238E27FC236}">
                  <a16:creationId xmlns:a16="http://schemas.microsoft.com/office/drawing/2014/main" id="{353DDB6B-A54F-483A-A58A-B9FF9EB7235D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75" name="모서리가 둥근 직사각형 108">
              <a:extLst>
                <a:ext uri="{FF2B5EF4-FFF2-40B4-BE49-F238E27FC236}">
                  <a16:creationId xmlns:a16="http://schemas.microsoft.com/office/drawing/2014/main" id="{5E26E753-F5BB-49B1-8F63-CECCE90889C9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76" name="모서리가 둥근 직사각형 117">
              <a:extLst>
                <a:ext uri="{FF2B5EF4-FFF2-40B4-BE49-F238E27FC236}">
                  <a16:creationId xmlns:a16="http://schemas.microsoft.com/office/drawing/2014/main" id="{A6EDE213-C1AF-4876-B2BB-61A7A769C724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sp>
        <p:nvSpPr>
          <p:cNvPr id="277" name="TextBox 276">
            <a:extLst>
              <a:ext uri="{FF2B5EF4-FFF2-40B4-BE49-F238E27FC236}">
                <a16:creationId xmlns:a16="http://schemas.microsoft.com/office/drawing/2014/main" id="{06D37AE1-678A-4DD9-896C-27A6CC36E823}"/>
              </a:ext>
            </a:extLst>
          </p:cNvPr>
          <p:cNvSpPr txBox="1"/>
          <p:nvPr/>
        </p:nvSpPr>
        <p:spPr>
          <a:xfrm>
            <a:off x="10844097" y="392753"/>
            <a:ext cx="98025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900" b="1" dirty="0" err="1">
                <a:solidFill>
                  <a:schemeClr val="accent1">
                    <a:lumMod val="50000"/>
                  </a:schemeClr>
                </a:solidFill>
                <a:latin typeface="APPLE SD GOTHICNEO EXTRABOLD" panose="02000300000000000000" pitchFamily="2" charset="-127"/>
                <a:ea typeface="APPLE SD GOTHICNEO EXTRABOLD" panose="02000300000000000000" pitchFamily="2" charset="-127"/>
              </a:rPr>
              <a:t>대목차</a:t>
            </a:r>
            <a:r>
              <a:rPr kumimoji="1" lang="en-US" altLang="ko-KR" sz="900" b="1" dirty="0">
                <a:solidFill>
                  <a:schemeClr val="accent1">
                    <a:lumMod val="50000"/>
                  </a:schemeClr>
                </a:solidFill>
                <a:latin typeface="APPLE SD GOTHICNEO EXTRABOLD" panose="02000300000000000000" pitchFamily="2" charset="-127"/>
                <a:ea typeface="APPLE SD GOTHICNEO EXTRABOLD" panose="02000300000000000000" pitchFamily="2" charset="-127"/>
              </a:rPr>
              <a:t>3</a:t>
            </a:r>
            <a:endParaRPr kumimoji="1" lang="ko-KR" altLang="en-US" sz="900" b="1" dirty="0">
              <a:solidFill>
                <a:schemeClr val="accent1">
                  <a:lumMod val="50000"/>
                </a:schemeClr>
              </a:solidFill>
              <a:latin typeface="APPLE SD GOTHICNEO EXTRABOLD" panose="02000300000000000000" pitchFamily="2" charset="-127"/>
              <a:ea typeface="APPLE SD GOTHICNEO EXTRABOLD" panose="02000300000000000000" pitchFamily="2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C4B4464-72FA-E203-9B29-03D20DD78348}"/>
              </a:ext>
            </a:extLst>
          </p:cNvPr>
          <p:cNvSpPr/>
          <p:nvPr/>
        </p:nvSpPr>
        <p:spPr>
          <a:xfrm>
            <a:off x="912650" y="1815111"/>
            <a:ext cx="1027692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kumimoji="1" lang="ko-KR" altLang="en-US" dirty="0">
                <a:solidFill>
                  <a:schemeClr val="tx1"/>
                </a:solidFill>
              </a:rPr>
              <a:t>전이학습</a:t>
            </a:r>
            <a:r>
              <a:rPr kumimoji="1" lang="en-US" altLang="ko-KR" dirty="0">
                <a:solidFill>
                  <a:schemeClr val="tx1"/>
                </a:solidFill>
              </a:rPr>
              <a:t>-&gt;</a:t>
            </a:r>
            <a:r>
              <a:rPr lang="ko-KR" altLang="en-US" dirty="0" err="1">
                <a:solidFill>
                  <a:schemeClr val="tx1"/>
                </a:solidFill>
              </a:rPr>
              <a:t>사전학습된</a:t>
            </a:r>
            <a:r>
              <a:rPr lang="ko-KR" altLang="en-US" dirty="0">
                <a:solidFill>
                  <a:schemeClr val="tx1"/>
                </a:solidFill>
              </a:rPr>
              <a:t> 모델을 특정 작업에 맞게 조정</a:t>
            </a:r>
            <a:endParaRPr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ko-KR" altLang="en-US" dirty="0">
                <a:solidFill>
                  <a:schemeClr val="tx1"/>
                </a:solidFill>
              </a:rPr>
              <a:t>전이학습 과정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1.</a:t>
            </a:r>
            <a:r>
              <a:rPr kumimoji="1" lang="ko-KR" altLang="en-US" dirty="0">
                <a:solidFill>
                  <a:schemeClr val="tx1"/>
                </a:solidFill>
              </a:rPr>
              <a:t>대량의 데이터로 사전훈련을 함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2.</a:t>
            </a:r>
            <a:r>
              <a:rPr kumimoji="1" lang="ko-KR" altLang="en-US" dirty="0">
                <a:solidFill>
                  <a:schemeClr val="tx1"/>
                </a:solidFill>
              </a:rPr>
              <a:t>학습이 끝난 모델에서 마지막 층을 제외하고 추출함</a:t>
            </a:r>
            <a:r>
              <a:rPr kumimoji="1" lang="en-US" altLang="ko-KR" dirty="0">
                <a:solidFill>
                  <a:schemeClr val="tx1"/>
                </a:solidFill>
              </a:rPr>
              <a:t>(</a:t>
            </a:r>
            <a:r>
              <a:rPr kumimoji="1" lang="ko-KR" altLang="en-US" dirty="0" err="1">
                <a:solidFill>
                  <a:schemeClr val="tx1"/>
                </a:solidFill>
              </a:rPr>
              <a:t>사전훈련된</a:t>
            </a:r>
            <a:r>
              <a:rPr kumimoji="1" lang="ko-KR" altLang="en-US" dirty="0">
                <a:solidFill>
                  <a:schemeClr val="tx1"/>
                </a:solidFill>
              </a:rPr>
              <a:t> 모델은 모든 이미지에 공통적으로 사용되는 패턴을 구분함</a:t>
            </a:r>
            <a:r>
              <a:rPr kumimoji="1" lang="en-US" altLang="ko-KR" dirty="0">
                <a:solidFill>
                  <a:schemeClr val="tx1"/>
                </a:solidFill>
              </a:rPr>
              <a:t>.)</a:t>
            </a:r>
          </a:p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3.</a:t>
            </a:r>
            <a:r>
              <a:rPr kumimoji="1" lang="ko-KR" altLang="en-US" dirty="0">
                <a:solidFill>
                  <a:schemeClr val="tx1"/>
                </a:solidFill>
              </a:rPr>
              <a:t>마지막 층 추가하여</a:t>
            </a:r>
            <a:r>
              <a:rPr kumimoji="1" lang="en-US" altLang="ko-KR" dirty="0">
                <a:solidFill>
                  <a:schemeClr val="tx1"/>
                </a:solidFill>
              </a:rPr>
              <a:t>(</a:t>
            </a:r>
            <a:r>
              <a:rPr kumimoji="1" lang="ko-KR" altLang="en-US" dirty="0">
                <a:solidFill>
                  <a:schemeClr val="tx1"/>
                </a:solidFill>
              </a:rPr>
              <a:t>미세조정</a:t>
            </a:r>
            <a:r>
              <a:rPr kumimoji="1" lang="en-US" altLang="ko-KR" dirty="0">
                <a:solidFill>
                  <a:schemeClr val="tx1"/>
                </a:solidFill>
              </a:rPr>
              <a:t>)</a:t>
            </a:r>
            <a:r>
              <a:rPr kumimoji="1" lang="ko-KR" altLang="en-US" dirty="0">
                <a:solidFill>
                  <a:schemeClr val="tx1"/>
                </a:solidFill>
              </a:rPr>
              <a:t> 새로운 모델을 </a:t>
            </a:r>
            <a:r>
              <a:rPr kumimoji="1" lang="ko-KR" altLang="en-US" dirty="0" err="1">
                <a:solidFill>
                  <a:schemeClr val="tx1"/>
                </a:solidFill>
              </a:rPr>
              <a:t>만듬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4.</a:t>
            </a:r>
            <a:r>
              <a:rPr kumimoji="1" lang="ko-KR" altLang="en-US" dirty="0">
                <a:solidFill>
                  <a:schemeClr val="tx1"/>
                </a:solidFill>
              </a:rPr>
              <a:t>자신의 데이터로 다시 학습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-&gt;</a:t>
            </a:r>
            <a:r>
              <a:rPr kumimoji="1" lang="ko-KR" altLang="en-US" dirty="0">
                <a:solidFill>
                  <a:schemeClr val="tx1"/>
                </a:solidFill>
              </a:rPr>
              <a:t>이로 인해 좀 더 높은 정확도를 얻을 수 있다</a:t>
            </a:r>
            <a:r>
              <a:rPr kumimoji="1" lang="en-US" altLang="ko-KR" dirty="0">
                <a:solidFill>
                  <a:schemeClr val="tx1"/>
                </a:solidFill>
              </a:rPr>
              <a:t>.</a:t>
            </a:r>
          </a:p>
          <a:p>
            <a:pPr>
              <a:lnSpc>
                <a:spcPct val="150000"/>
              </a:lnSpc>
            </a:pPr>
            <a:r>
              <a:rPr kumimoji="1" lang="en-US" altLang="ko-KR" dirty="0" err="1">
                <a:solidFill>
                  <a:schemeClr val="tx1"/>
                </a:solidFill>
              </a:rPr>
              <a:t>Ex:BERT</a:t>
            </a:r>
            <a:endParaRPr kumimoji="1" lang="ko-KR" altLang="en-US" dirty="0">
              <a:solidFill>
                <a:schemeClr val="tx1"/>
              </a:solidFill>
            </a:endParaRPr>
          </a:p>
        </p:txBody>
      </p:sp>
      <p:pic>
        <p:nvPicPr>
          <p:cNvPr id="5" name="그림 4" descr="텍스트, 스크린샷, 도표이(가) 표시된 사진&#10;&#10;자동 생성된 설명">
            <a:extLst>
              <a:ext uri="{FF2B5EF4-FFF2-40B4-BE49-F238E27FC236}">
                <a16:creationId xmlns:a16="http://schemas.microsoft.com/office/drawing/2014/main" id="{33CE8177-21A2-7A30-1D8A-785898A3C8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95765" y="4236098"/>
            <a:ext cx="4918344" cy="216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6236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707E4294-8637-0846-B93D-64E46AF0ACC6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D6D41772-7D4D-8445-B358-C4A0F1258BFB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7C29DED4-7AC7-354E-8FB8-86FA4560089B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FA2850DD-B4E5-7848-9B90-ED6403775D73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EDB2AD74-809A-054A-8B69-1003858A8EC4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03BD0480-986A-FD46-9C75-108CDC190EEB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7F53FB81-F020-0A42-9C62-604269763C8A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49EE429D-B864-E74A-9DC7-D36340657746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43B53A4D-7926-3946-A873-A537C6E16F9E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6FB0927B-249A-0043-96D7-91F1D58B6D80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C56E94BD-82CB-6143-93D9-A271F0ECD1B2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B21A9831-5EC0-3A47-BE21-4D86E3906C84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FC2686D7-AE02-DD40-B2A3-536556AC8E7F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391EF3F4-E030-4043-94E2-069F8CE85DDC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1C0526A8-E820-694F-91EB-73EFD442FF25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FFEB3D48-E0E1-844F-8688-D638A171A2CE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B6C2585B-FA89-6147-AB7C-97EA6EBDFC15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2C4393B7-8248-5D41-9F2D-573598C76B32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56599F30-31D9-754F-896C-63F2DE0AF992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889474D3-07CA-AF4E-BE3C-EF857AA1AE54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074AACE3-7D3E-2E4F-A57A-7F59AD688A5B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D2A2218-1438-7340-8641-95C3B850E427}"/>
              </a:ext>
            </a:extLst>
          </p:cNvPr>
          <p:cNvSpPr/>
          <p:nvPr/>
        </p:nvSpPr>
        <p:spPr>
          <a:xfrm>
            <a:off x="945747" y="46331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5B9209E-A87C-6E42-BEA2-F6FE256BE089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3CE1CE3B-0D8A-B148-8FDB-1D11A01A5468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D649AE3-AF5A-594B-96AA-9F5B204155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5A4F7E97-FD14-F145-9105-D33D69282FA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ED9BD9BB-113A-E448-8329-64170F90DA85}"/>
              </a:ext>
            </a:extLst>
          </p:cNvPr>
          <p:cNvSpPr txBox="1"/>
          <p:nvPr/>
        </p:nvSpPr>
        <p:spPr>
          <a:xfrm>
            <a:off x="1606540" y="450119"/>
            <a:ext cx="31285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2000" b="1" dirty="0"/>
              <a:t>별첨</a:t>
            </a:r>
          </a:p>
        </p:txBody>
      </p:sp>
      <p:sp>
        <p:nvSpPr>
          <p:cNvPr id="74" name="삼각형 73">
            <a:extLst>
              <a:ext uri="{FF2B5EF4-FFF2-40B4-BE49-F238E27FC236}">
                <a16:creationId xmlns:a16="http://schemas.microsoft.com/office/drawing/2014/main" id="{7D317237-3DC3-F84B-A42A-7C1B719A2173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DC14D86B-2D6A-3E48-B455-31E4483AB054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55258E2F-95FA-854D-9CA0-99F996940363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8FCC1A8-5E2C-7A48-8867-4710FEA01A57}"/>
              </a:ext>
            </a:extLst>
          </p:cNvPr>
          <p:cNvSpPr txBox="1"/>
          <p:nvPr/>
        </p:nvSpPr>
        <p:spPr>
          <a:xfrm>
            <a:off x="980876" y="380426"/>
            <a:ext cx="601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1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F0CBD1A1-A79A-7B4D-AD35-AA3E31BCD614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C13FFF33-76C8-A542-B785-75931D9C9353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98">
            <a:extLst>
              <a:ext uri="{FF2B5EF4-FFF2-40B4-BE49-F238E27FC236}">
                <a16:creationId xmlns:a16="http://schemas.microsoft.com/office/drawing/2014/main" id="{49C5D1A4-E774-CC4C-BADE-8E5B703FF6D2}"/>
              </a:ext>
            </a:extLst>
          </p:cNvPr>
          <p:cNvSpPr txBox="1"/>
          <p:nvPr/>
        </p:nvSpPr>
        <p:spPr>
          <a:xfrm>
            <a:off x="864604" y="996036"/>
            <a:ext cx="76037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200" dirty="0" err="1">
                <a:solidFill>
                  <a:schemeClr val="bg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거버닌</a:t>
            </a:r>
            <a:r>
              <a:rPr kumimoji="1" lang="ko-KR" altLang="en-US" sz="1200" dirty="0">
                <a:solidFill>
                  <a:schemeClr val="bg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 메시지</a:t>
            </a:r>
            <a:r>
              <a:rPr kumimoji="1" lang="en-US" altLang="ko-KR" sz="1200" dirty="0">
                <a:solidFill>
                  <a:schemeClr val="bg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1</a:t>
            </a:r>
            <a:endParaRPr kumimoji="1" lang="ko-KR" altLang="en-US" sz="1200" dirty="0">
              <a:solidFill>
                <a:schemeClr val="bg1">
                  <a:lumMod val="50000"/>
                </a:schemeClr>
              </a:solidFill>
              <a:latin typeface="Apple SD Gothic Neo" panose="02000300000000000000" pitchFamily="2" charset="-127"/>
              <a:ea typeface="Apple SD Gothic Neo" panose="02000300000000000000" pitchFamily="2" charset="-127"/>
            </a:endParaRP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2FFA863-C2C4-0645-9192-8C55565E9AB9}"/>
              </a:ext>
            </a:extLst>
          </p:cNvPr>
          <p:cNvSpPr/>
          <p:nvPr/>
        </p:nvSpPr>
        <p:spPr>
          <a:xfrm>
            <a:off x="968492" y="150006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E7B26BB-B000-834F-B40D-8848999DFDBD}"/>
              </a:ext>
            </a:extLst>
          </p:cNvPr>
          <p:cNvSpPr txBox="1"/>
          <p:nvPr/>
        </p:nvSpPr>
        <p:spPr>
          <a:xfrm>
            <a:off x="1002423" y="1441608"/>
            <a:ext cx="76037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400" b="1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전이 학습의 </a:t>
            </a:r>
            <a:r>
              <a:rPr kumimoji="1" lang="ko-KR" altLang="en-US" sz="1400" b="1" dirty="0" err="1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적용예시</a:t>
            </a:r>
            <a:endParaRPr kumimoji="1" lang="ko-KR" altLang="en-US" sz="1400" b="1" dirty="0">
              <a:latin typeface="Apple SD Gothic Neo" panose="02000300000000000000" pitchFamily="2" charset="-127"/>
              <a:ea typeface="Apple SD Gothic Neo" panose="02000300000000000000" pitchFamily="2" charset="-127"/>
            </a:endParaRP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C690B16F-60C0-404A-B8EC-018028C98078}"/>
              </a:ext>
            </a:extLst>
          </p:cNvPr>
          <p:cNvGrpSpPr/>
          <p:nvPr/>
        </p:nvGrpSpPr>
        <p:grpSpPr>
          <a:xfrm>
            <a:off x="9666156" y="1530814"/>
            <a:ext cx="1523421" cy="91497"/>
            <a:chOff x="9826778" y="1638458"/>
            <a:chExt cx="1403308" cy="84283"/>
          </a:xfrm>
        </p:grpSpPr>
        <p:sp>
          <p:nvSpPr>
            <p:cNvPr id="103" name="오각형[P] 102">
              <a:extLst>
                <a:ext uri="{FF2B5EF4-FFF2-40B4-BE49-F238E27FC236}">
                  <a16:creationId xmlns:a16="http://schemas.microsoft.com/office/drawing/2014/main" id="{BA264859-91BE-B745-B3E6-683DC0C23643}"/>
                </a:ext>
              </a:extLst>
            </p:cNvPr>
            <p:cNvSpPr/>
            <p:nvPr/>
          </p:nvSpPr>
          <p:spPr>
            <a:xfrm>
              <a:off x="9826778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4" name="오각형[P] 103">
              <a:extLst>
                <a:ext uri="{FF2B5EF4-FFF2-40B4-BE49-F238E27FC236}">
                  <a16:creationId xmlns:a16="http://schemas.microsoft.com/office/drawing/2014/main" id="{D359EFDC-B2FE-3D43-8DC9-E52AD09B0DFF}"/>
                </a:ext>
              </a:extLst>
            </p:cNvPr>
            <p:cNvSpPr/>
            <p:nvPr/>
          </p:nvSpPr>
          <p:spPr>
            <a:xfrm>
              <a:off x="10181942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5" name="오각형[P] 104">
              <a:extLst>
                <a:ext uri="{FF2B5EF4-FFF2-40B4-BE49-F238E27FC236}">
                  <a16:creationId xmlns:a16="http://schemas.microsoft.com/office/drawing/2014/main" id="{A7533735-F5EB-1B4A-97E2-22F9836D1A38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6" name="오각형[P] 105">
              <a:extLst>
                <a:ext uri="{FF2B5EF4-FFF2-40B4-BE49-F238E27FC236}">
                  <a16:creationId xmlns:a16="http://schemas.microsoft.com/office/drawing/2014/main" id="{EF35ED8B-DD81-724F-8BCB-3E7A38040AC2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CFE5C14A-6A5F-1D4E-AACD-6290795A0E50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9471140A-AC53-FF43-86A8-7CF43FD9AC99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FE70F178-B020-0448-B3BA-8C65306BB897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2D61BCD9-FAB8-D245-98E4-800A31E25DCB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BABD8095-7230-C14F-BF71-F0CF0E280F51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BD0BCF0D-197F-3747-8462-2F74C6F09622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45C85690-E0AE-FC4A-9AA0-2D9C6A27FC0D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CB4E342F-E2B9-034B-86AF-257B99924775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2AE46567-C279-0F4D-B792-014014F158AC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A2D0EF23-6E2E-7E4E-8848-36636389DAF1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47EB3783-BC3E-7143-BC80-F8E1DA55D1B1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4FB244C7-89AD-134E-BA84-0BEEAC3980DB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5B2726A3-B84D-FB4F-B33A-9A4AE40FA553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3ED726EC-D482-DF40-9E2E-4DBCAADA9B73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EAEE6FAB-DDA7-D24A-9220-42716501446D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5A4CC5AC-8F2E-0741-B80E-E835747D5AC0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1D704BED-662B-6B41-BDD7-6ABA48C9AF42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75FE5EC7-8B42-FA49-B2D8-9B793A19896D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A63066D5-D089-8241-80CF-4B11B0322E4E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038DDE3A-4214-C64C-BB3F-5D626FC7BF27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FAB09580-FF0B-5144-B65B-EAEE47522A4D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4FA139C7-427A-5241-93DC-0DF3CB343A07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FDF816DF-5022-AE49-A056-7AF6A5BF4538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9601E632-640B-004E-9D29-ECC906FEEC92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88E699D1-E4B4-9448-B419-CE5EA4EBEA59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CED792D6-2807-3543-91E3-C1A0EF3B8BE2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17E51BBD-F0C7-E944-BF55-B5554D620F81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FFF6AC63-694E-1F4D-9955-93C287D6046F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BAC33A10-F324-204E-9C89-A50D1260A961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6E47BE37-5146-7841-B92F-8C562D90341D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CCED390B-8DAF-C142-AC67-037DB0D7E8CF}"/>
              </a:ext>
            </a:extLst>
          </p:cNvPr>
          <p:cNvSpPr txBox="1"/>
          <p:nvPr/>
        </p:nvSpPr>
        <p:spPr>
          <a:xfrm>
            <a:off x="884159" y="128224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b="1" dirty="0">
                <a:solidFill>
                  <a:schemeClr val="accent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PPT </a:t>
            </a:r>
            <a:r>
              <a:rPr kumimoji="1" lang="ko-KR" altLang="en-US" sz="1050" b="1" dirty="0">
                <a:solidFill>
                  <a:schemeClr val="accent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템플릿 공모전</a:t>
            </a:r>
          </a:p>
        </p:txBody>
      </p: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28DDF8A4-32BE-FD41-AD93-E8A70FA1DBC0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3" name="바닥글 개체 틀 2">
            <a:extLst>
              <a:ext uri="{FF2B5EF4-FFF2-40B4-BE49-F238E27FC236}">
                <a16:creationId xmlns:a16="http://schemas.microsoft.com/office/drawing/2014/main" id="{E079B939-CD35-493F-8C91-8D314E8A14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54706" y="6492875"/>
            <a:ext cx="4526280" cy="365125"/>
          </a:xfrm>
        </p:spPr>
        <p:txBody>
          <a:bodyPr/>
          <a:lstStyle/>
          <a:p>
            <a:r>
              <a:rPr lang="en-US" altLang="ko-KR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- 7/8</a:t>
            </a:r>
            <a:r>
              <a:rPr lang="ko-KR" altLang="en-US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 </a:t>
            </a:r>
            <a:r>
              <a:rPr lang="en-US" altLang="ko-KR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-</a:t>
            </a:r>
            <a:endParaRPr lang="ko-KR" altLang="en-US" sz="1100" dirty="0">
              <a:latin typeface="Apple SD Gothic Neo" panose="02000300000000000000" pitchFamily="2" charset="-127"/>
              <a:ea typeface="Apple SD Gothic Neo" panose="02000300000000000000" pitchFamily="2" charset="-127"/>
            </a:endParaRPr>
          </a:p>
        </p:txBody>
      </p:sp>
      <p:pic>
        <p:nvPicPr>
          <p:cNvPr id="214" name="그림 213">
            <a:extLst>
              <a:ext uri="{FF2B5EF4-FFF2-40B4-BE49-F238E27FC236}">
                <a16:creationId xmlns:a16="http://schemas.microsoft.com/office/drawing/2014/main" id="{E0F41D8A-A7DE-4A42-B270-E026976E1F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cxnSp>
        <p:nvCxnSpPr>
          <p:cNvPr id="193" name="직선 연결선 57">
            <a:extLst>
              <a:ext uri="{FF2B5EF4-FFF2-40B4-BE49-F238E27FC236}">
                <a16:creationId xmlns:a16="http://schemas.microsoft.com/office/drawing/2014/main" id="{5915401D-91B7-4054-B8A6-A88C9C16D201}"/>
              </a:ext>
            </a:extLst>
          </p:cNvPr>
          <p:cNvCxnSpPr/>
          <p:nvPr/>
        </p:nvCxnSpPr>
        <p:spPr>
          <a:xfrm>
            <a:off x="7419444" y="2542011"/>
            <a:ext cx="0" cy="2918158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2" name="그래픽 181" descr="자물쇠 단색으로 채워진">
            <a:extLst>
              <a:ext uri="{FF2B5EF4-FFF2-40B4-BE49-F238E27FC236}">
                <a16:creationId xmlns:a16="http://schemas.microsoft.com/office/drawing/2014/main" id="{2458B029-A618-4D53-A06E-EC1AE80808D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34276" y="4558128"/>
            <a:ext cx="362000" cy="362000"/>
          </a:xfrm>
          <a:prstGeom prst="rect">
            <a:avLst/>
          </a:prstGeom>
        </p:spPr>
      </p:pic>
      <p:pic>
        <p:nvPicPr>
          <p:cNvPr id="192" name="그래픽 191" descr="서적 단색으로 채워진">
            <a:extLst>
              <a:ext uri="{FF2B5EF4-FFF2-40B4-BE49-F238E27FC236}">
                <a16:creationId xmlns:a16="http://schemas.microsoft.com/office/drawing/2014/main" id="{4C514C4E-6B00-4CF4-AE7A-C340E1E028D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85041" y="2352177"/>
            <a:ext cx="267017" cy="267017"/>
          </a:xfrm>
          <a:prstGeom prst="rect">
            <a:avLst/>
          </a:prstGeom>
        </p:spPr>
      </p:pic>
      <p:cxnSp>
        <p:nvCxnSpPr>
          <p:cNvPr id="208" name="직선 연결선[R] 116">
            <a:extLst>
              <a:ext uri="{FF2B5EF4-FFF2-40B4-BE49-F238E27FC236}">
                <a16:creationId xmlns:a16="http://schemas.microsoft.com/office/drawing/2014/main" id="{C4FA6C6B-4CB5-49DF-BB08-5730A5219511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직사각형 216">
            <a:extLst>
              <a:ext uri="{FF2B5EF4-FFF2-40B4-BE49-F238E27FC236}">
                <a16:creationId xmlns:a16="http://schemas.microsoft.com/office/drawing/2014/main" id="{F741B41B-5570-4BCD-B038-2A0070561FF2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219" name="직사각형 218">
            <a:extLst>
              <a:ext uri="{FF2B5EF4-FFF2-40B4-BE49-F238E27FC236}">
                <a16:creationId xmlns:a16="http://schemas.microsoft.com/office/drawing/2014/main" id="{4E58C71C-4305-4849-896B-DC0DBFD2DE90}"/>
              </a:ext>
            </a:extLst>
          </p:cNvPr>
          <p:cNvSpPr/>
          <p:nvPr/>
        </p:nvSpPr>
        <p:spPr>
          <a:xfrm>
            <a:off x="11692678" y="3768053"/>
            <a:ext cx="48554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  <a:p>
            <a:pPr algn="ctr"/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226" name="직사각형 225">
            <a:extLst>
              <a:ext uri="{FF2B5EF4-FFF2-40B4-BE49-F238E27FC236}">
                <a16:creationId xmlns:a16="http://schemas.microsoft.com/office/drawing/2014/main" id="{88FB0E76-AAE0-4457-8C7E-681475670DA5}"/>
              </a:ext>
            </a:extLst>
          </p:cNvPr>
          <p:cNvSpPr/>
          <p:nvPr/>
        </p:nvSpPr>
        <p:spPr>
          <a:xfrm>
            <a:off x="11692678" y="2834264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cxnSp>
        <p:nvCxnSpPr>
          <p:cNvPr id="248" name="직선 연결선[R] 111">
            <a:extLst>
              <a:ext uri="{FF2B5EF4-FFF2-40B4-BE49-F238E27FC236}">
                <a16:creationId xmlns:a16="http://schemas.microsoft.com/office/drawing/2014/main" id="{71ACFEC1-B430-4801-BF38-FE9376557F49}"/>
              </a:ext>
            </a:extLst>
          </p:cNvPr>
          <p:cNvCxnSpPr>
            <a:cxnSpLocks/>
          </p:cNvCxnSpPr>
          <p:nvPr/>
        </p:nvCxnSpPr>
        <p:spPr>
          <a:xfrm>
            <a:off x="11785494" y="2825264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직선 연결선[R] 112">
            <a:extLst>
              <a:ext uri="{FF2B5EF4-FFF2-40B4-BE49-F238E27FC236}">
                <a16:creationId xmlns:a16="http://schemas.microsoft.com/office/drawing/2014/main" id="{D49DDF53-EEE4-4CF4-B9F1-1224A7A2A7BB}"/>
              </a:ext>
            </a:extLst>
          </p:cNvPr>
          <p:cNvCxnSpPr>
            <a:cxnSpLocks/>
          </p:cNvCxnSpPr>
          <p:nvPr/>
        </p:nvCxnSpPr>
        <p:spPr>
          <a:xfrm>
            <a:off x="11785494" y="3759054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3" name="직사각형 262">
            <a:extLst>
              <a:ext uri="{FF2B5EF4-FFF2-40B4-BE49-F238E27FC236}">
                <a16:creationId xmlns:a16="http://schemas.microsoft.com/office/drawing/2014/main" id="{D09F0CBB-7FCA-49D6-81AA-2C60E149E3FD}"/>
              </a:ext>
            </a:extLst>
          </p:cNvPr>
          <p:cNvSpPr/>
          <p:nvPr/>
        </p:nvSpPr>
        <p:spPr>
          <a:xfrm>
            <a:off x="11789546" y="4763042"/>
            <a:ext cx="402454" cy="1207161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676CB37E-5A7E-42B4-BC61-6FF47FAA7055}"/>
              </a:ext>
            </a:extLst>
          </p:cNvPr>
          <p:cNvSpPr txBox="1"/>
          <p:nvPr/>
        </p:nvSpPr>
        <p:spPr>
          <a:xfrm>
            <a:off x="11829560" y="5017150"/>
            <a:ext cx="2160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별첨</a:t>
            </a:r>
            <a:endParaRPr kumimoji="1" lang="en-US" altLang="ko-KR" sz="800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65" name="직사각형 264">
            <a:extLst>
              <a:ext uri="{FF2B5EF4-FFF2-40B4-BE49-F238E27FC236}">
                <a16:creationId xmlns:a16="http://schemas.microsoft.com/office/drawing/2014/main" id="{66ACCF17-061D-4831-B2D1-2F73437D1C64}"/>
              </a:ext>
            </a:extLst>
          </p:cNvPr>
          <p:cNvSpPr/>
          <p:nvPr/>
        </p:nvSpPr>
        <p:spPr>
          <a:xfrm>
            <a:off x="11692678" y="4805403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</a:p>
        </p:txBody>
      </p:sp>
      <p:grpSp>
        <p:nvGrpSpPr>
          <p:cNvPr id="266" name="그룹 265">
            <a:extLst>
              <a:ext uri="{FF2B5EF4-FFF2-40B4-BE49-F238E27FC236}">
                <a16:creationId xmlns:a16="http://schemas.microsoft.com/office/drawing/2014/main" id="{3AC59D65-3C90-466E-8A51-C4BA4B233C59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267" name="모서리가 둥근 직사각형 94">
              <a:extLst>
                <a:ext uri="{FF2B5EF4-FFF2-40B4-BE49-F238E27FC236}">
                  <a16:creationId xmlns:a16="http://schemas.microsoft.com/office/drawing/2014/main" id="{62D3BC54-6A98-4A2A-9CEE-9B20C8BD8FE3}"/>
                </a:ext>
              </a:extLst>
            </p:cNvPr>
            <p:cNvSpPr/>
            <p:nvPr/>
          </p:nvSpPr>
          <p:spPr>
            <a:xfrm>
              <a:off x="11264183" y="271844"/>
              <a:ext cx="236540" cy="133554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/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68" name="모서리가 둥근 직사각형 97">
              <a:extLst>
                <a:ext uri="{FF2B5EF4-FFF2-40B4-BE49-F238E27FC236}">
                  <a16:creationId xmlns:a16="http://schemas.microsoft.com/office/drawing/2014/main" id="{F8D89CB3-9488-413F-8A9E-F3FF3DB79D98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69" name="모서리가 둥근 직사각형 108">
              <a:extLst>
                <a:ext uri="{FF2B5EF4-FFF2-40B4-BE49-F238E27FC236}">
                  <a16:creationId xmlns:a16="http://schemas.microsoft.com/office/drawing/2014/main" id="{81C9E5CA-670E-4B3B-91D9-5DD392F46FB5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70" name="모서리가 둥근 직사각형 117">
              <a:extLst>
                <a:ext uri="{FF2B5EF4-FFF2-40B4-BE49-F238E27FC236}">
                  <a16:creationId xmlns:a16="http://schemas.microsoft.com/office/drawing/2014/main" id="{3057BB68-4350-46F4-BFB5-9B786900080B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sp>
        <p:nvSpPr>
          <p:cNvPr id="271" name="TextBox 270">
            <a:extLst>
              <a:ext uri="{FF2B5EF4-FFF2-40B4-BE49-F238E27FC236}">
                <a16:creationId xmlns:a16="http://schemas.microsoft.com/office/drawing/2014/main" id="{4E9B2051-A976-4931-8793-3679E7DD9C61}"/>
              </a:ext>
            </a:extLst>
          </p:cNvPr>
          <p:cNvSpPr txBox="1"/>
          <p:nvPr/>
        </p:nvSpPr>
        <p:spPr>
          <a:xfrm>
            <a:off x="11279467" y="392753"/>
            <a:ext cx="65155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900" b="1" dirty="0">
                <a:solidFill>
                  <a:schemeClr val="accent1">
                    <a:lumMod val="50000"/>
                  </a:schemeClr>
                </a:solidFill>
                <a:latin typeface="APPLE SD GOTHICNEO EXTRABOLD" panose="02000300000000000000" pitchFamily="2" charset="-127"/>
                <a:ea typeface="APPLE SD GOTHICNEO EXTRABOLD" panose="02000300000000000000" pitchFamily="2" charset="-127"/>
              </a:rPr>
              <a:t>별첨</a:t>
            </a: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713E9A0A-6C1F-2D0E-B0B9-4A988EBBD56D}"/>
              </a:ext>
            </a:extLst>
          </p:cNvPr>
          <p:cNvSpPr/>
          <p:nvPr/>
        </p:nvSpPr>
        <p:spPr>
          <a:xfrm>
            <a:off x="857703" y="1796920"/>
            <a:ext cx="10421763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kumimoji="1" lang="en-US" altLang="ko-KR" dirty="0">
              <a:solidFill>
                <a:schemeClr val="tx1"/>
              </a:solidFill>
            </a:endParaRPr>
          </a:p>
          <a:p>
            <a:r>
              <a:rPr kumimoji="1" lang="en-US" altLang="ko-KR" dirty="0">
                <a:solidFill>
                  <a:schemeClr val="tx1"/>
                </a:solidFill>
              </a:rPr>
              <a:t>Resnet50 </a:t>
            </a:r>
            <a:r>
              <a:rPr kumimoji="1" lang="ko-KR" altLang="en-US" dirty="0">
                <a:solidFill>
                  <a:schemeClr val="tx1"/>
                </a:solidFill>
              </a:rPr>
              <a:t>모델을 </a:t>
            </a:r>
            <a:r>
              <a:rPr kumimoji="1" lang="ko-KR" altLang="en-US" dirty="0" err="1">
                <a:solidFill>
                  <a:schemeClr val="tx1"/>
                </a:solidFill>
              </a:rPr>
              <a:t>사용할때</a:t>
            </a:r>
            <a:r>
              <a:rPr kumimoji="1" lang="ko-KR" altLang="en-US" dirty="0">
                <a:solidFill>
                  <a:schemeClr val="tx1"/>
                </a:solidFill>
              </a:rPr>
              <a:t> </a:t>
            </a:r>
            <a:r>
              <a:rPr kumimoji="1" lang="ko-KR" altLang="en-US" dirty="0" err="1">
                <a:solidFill>
                  <a:schemeClr val="tx1"/>
                </a:solidFill>
              </a:rPr>
              <a:t>사전학습되지</a:t>
            </a:r>
            <a:r>
              <a:rPr kumimoji="1" lang="ko-KR" altLang="en-US" dirty="0">
                <a:solidFill>
                  <a:schemeClr val="tx1"/>
                </a:solidFill>
              </a:rPr>
              <a:t> 않음</a:t>
            </a:r>
            <a:r>
              <a:rPr kumimoji="1" lang="en-US" altLang="ko-KR" dirty="0">
                <a:solidFill>
                  <a:schemeClr val="tx1"/>
                </a:solidFill>
              </a:rPr>
              <a:t>.-&gt;</a:t>
            </a:r>
            <a:r>
              <a:rPr lang="en-US" altLang="ko-KR" dirty="0">
                <a:solidFill>
                  <a:schemeClr val="tx1"/>
                </a:solidFill>
              </a:rPr>
              <a:t>weights=None</a:t>
            </a:r>
            <a:r>
              <a:rPr lang="ko-KR" altLang="en-US" dirty="0">
                <a:solidFill>
                  <a:schemeClr val="tx1"/>
                </a:solidFill>
              </a:rPr>
              <a:t>은 모델의 최상위 분류 레이어를 제외하고</a:t>
            </a:r>
            <a:r>
              <a:rPr lang="en-US" altLang="ko-KR" dirty="0">
                <a:solidFill>
                  <a:schemeClr val="tx1"/>
                </a:solidFill>
              </a:rPr>
              <a:t>, </a:t>
            </a:r>
            <a:r>
              <a:rPr lang="ko-KR" altLang="en-US" dirty="0">
                <a:solidFill>
                  <a:schemeClr val="tx1"/>
                </a:solidFill>
              </a:rPr>
              <a:t>특징 추출 부분만 사용하겠다는 의미이다</a:t>
            </a:r>
            <a:r>
              <a:rPr lang="en-US" altLang="ko-KR" dirty="0">
                <a:solidFill>
                  <a:schemeClr val="tx1"/>
                </a:solidFill>
              </a:rPr>
              <a:t>.</a:t>
            </a:r>
          </a:p>
          <a:p>
            <a:r>
              <a:rPr lang="ko-KR" altLang="en-US" dirty="0">
                <a:solidFill>
                  <a:schemeClr val="tx1"/>
                </a:solidFill>
              </a:rPr>
              <a:t>이때 </a:t>
            </a:r>
            <a:r>
              <a:rPr lang="en-US" altLang="ko-KR" dirty="0">
                <a:solidFill>
                  <a:schemeClr val="tx1"/>
                </a:solidFill>
              </a:rPr>
              <a:t>weights='</a:t>
            </a:r>
            <a:r>
              <a:rPr lang="en-US" altLang="ko-KR" dirty="0" err="1">
                <a:solidFill>
                  <a:schemeClr val="tx1"/>
                </a:solidFill>
              </a:rPr>
              <a:t>imagenet</a:t>
            </a:r>
            <a:r>
              <a:rPr lang="en-US" altLang="ko-KR" dirty="0">
                <a:solidFill>
                  <a:schemeClr val="tx1"/>
                </a:solidFill>
              </a:rPr>
              <a:t>’</a:t>
            </a:r>
            <a:r>
              <a:rPr lang="ko-KR" altLang="en-US" dirty="0">
                <a:solidFill>
                  <a:schemeClr val="tx1"/>
                </a:solidFill>
              </a:rPr>
              <a:t>으로 설정</a:t>
            </a:r>
            <a:r>
              <a:rPr kumimoji="1" lang="ko-KR" altLang="en-US" dirty="0">
                <a:solidFill>
                  <a:schemeClr val="tx1"/>
                </a:solidFill>
              </a:rPr>
              <a:t> </a:t>
            </a:r>
            <a:r>
              <a:rPr kumimoji="1" lang="en-US" altLang="ko-KR" dirty="0">
                <a:solidFill>
                  <a:schemeClr val="tx1"/>
                </a:solidFill>
              </a:rPr>
              <a:t>-&gt;</a:t>
            </a:r>
            <a:r>
              <a:rPr lang="en-US" altLang="ko-KR" dirty="0">
                <a:solidFill>
                  <a:schemeClr val="tx1"/>
                </a:solidFill>
              </a:rPr>
              <a:t>ImageNet </a:t>
            </a:r>
            <a:r>
              <a:rPr lang="ko-KR" altLang="en-US" dirty="0">
                <a:solidFill>
                  <a:schemeClr val="tx1"/>
                </a:solidFill>
              </a:rPr>
              <a:t>데이터셋에서 이미 학습된 가중치를 모델에 불러옴</a:t>
            </a:r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r>
              <a:rPr kumimoji="1" lang="en-US" altLang="ko-KR" dirty="0">
                <a:solidFill>
                  <a:schemeClr val="tx1"/>
                </a:solidFill>
              </a:rPr>
              <a:t>※ </a:t>
            </a:r>
            <a:r>
              <a:rPr kumimoji="1" lang="en-US" altLang="ko-KR" dirty="0" err="1">
                <a:solidFill>
                  <a:schemeClr val="tx1"/>
                </a:solidFill>
              </a:rPr>
              <a:t>include_top</a:t>
            </a:r>
            <a:r>
              <a:rPr kumimoji="1" lang="en-US" altLang="ko-KR" dirty="0">
                <a:solidFill>
                  <a:schemeClr val="tx1"/>
                </a:solidFill>
              </a:rPr>
              <a:t>=False-&gt;</a:t>
            </a:r>
            <a:r>
              <a:rPr lang="ko-KR" altLang="en-US" dirty="0">
                <a:solidFill>
                  <a:schemeClr val="tx1"/>
                </a:solidFill>
              </a:rPr>
              <a:t>모델의 최상위 분류 레이어</a:t>
            </a:r>
            <a:r>
              <a:rPr lang="en-US" altLang="ko-KR" dirty="0">
                <a:solidFill>
                  <a:schemeClr val="tx1"/>
                </a:solidFill>
              </a:rPr>
              <a:t>(fully connected layer)</a:t>
            </a:r>
            <a:r>
              <a:rPr lang="ko-KR" altLang="en-US" dirty="0">
                <a:solidFill>
                  <a:schemeClr val="tx1"/>
                </a:solidFill>
              </a:rPr>
              <a:t>를 제외하고</a:t>
            </a:r>
            <a:r>
              <a:rPr lang="en-US" altLang="ko-KR" dirty="0">
                <a:solidFill>
                  <a:schemeClr val="tx1"/>
                </a:solidFill>
              </a:rPr>
              <a:t>, </a:t>
            </a:r>
            <a:r>
              <a:rPr lang="ko-KR" altLang="en-US" dirty="0">
                <a:solidFill>
                  <a:schemeClr val="tx1"/>
                </a:solidFill>
              </a:rPr>
              <a:t>특징 추출 부분만 사용</a:t>
            </a:r>
            <a:r>
              <a:rPr lang="en-US" altLang="ko-KR" dirty="0">
                <a:solidFill>
                  <a:schemeClr val="tx1"/>
                </a:solidFill>
              </a:rPr>
              <a:t>. 0</a:t>
            </a:r>
            <a:r>
              <a:rPr lang="ko-KR" altLang="en-US" dirty="0">
                <a:solidFill>
                  <a:schemeClr val="tx1"/>
                </a:solidFill>
              </a:rPr>
              <a:t>과</a:t>
            </a:r>
            <a:r>
              <a:rPr lang="en-US" altLang="ko-KR" dirty="0">
                <a:solidFill>
                  <a:schemeClr val="tx1"/>
                </a:solidFill>
              </a:rPr>
              <a:t> 1</a:t>
            </a:r>
            <a:r>
              <a:rPr lang="ko-KR" altLang="en-US" dirty="0">
                <a:solidFill>
                  <a:schemeClr val="tx1"/>
                </a:solidFill>
              </a:rPr>
              <a:t>로 레이블이 결정 되어서 </a:t>
            </a:r>
            <a:r>
              <a:rPr lang="en-US" altLang="ko-KR" dirty="0">
                <a:solidFill>
                  <a:schemeClr val="tx1"/>
                </a:solidFill>
              </a:rPr>
              <a:t>fully connected layer </a:t>
            </a:r>
            <a:r>
              <a:rPr lang="ko-KR" altLang="en-US" dirty="0">
                <a:solidFill>
                  <a:schemeClr val="tx1"/>
                </a:solidFill>
              </a:rPr>
              <a:t>삭제</a:t>
            </a:r>
            <a:r>
              <a:rPr lang="en-US" altLang="ko-KR" dirty="0">
                <a:solidFill>
                  <a:schemeClr val="tx1"/>
                </a:solidFill>
              </a:rPr>
              <a:t>-&gt;zero-shot learning</a:t>
            </a:r>
            <a:r>
              <a:rPr lang="ko-KR" altLang="en-US" dirty="0">
                <a:solidFill>
                  <a:schemeClr val="tx1"/>
                </a:solidFill>
              </a:rPr>
              <a:t>과 연관</a:t>
            </a:r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  <a:p>
            <a:endParaRPr kumimoji="1" lang="en-US" altLang="ko-KR" dirty="0">
              <a:solidFill>
                <a:schemeClr val="tx1"/>
              </a:solidFill>
            </a:endParaRPr>
          </a:p>
        </p:txBody>
      </p:sp>
      <p:pic>
        <p:nvPicPr>
          <p:cNvPr id="5" name="그림 4" descr="텍스트, 스크린샷, 폰트이(가) 표시된 사진&#10;&#10;자동 생성된 설명">
            <a:extLst>
              <a:ext uri="{FF2B5EF4-FFF2-40B4-BE49-F238E27FC236}">
                <a16:creationId xmlns:a16="http://schemas.microsoft.com/office/drawing/2014/main" id="{517544C7-3D84-644D-62B6-634266B6565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96893" y="3406310"/>
            <a:ext cx="5403858" cy="3062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4822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2637F0-5A5A-89F7-FCDA-40A8200E1A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F6F230A9-12A2-82C8-8F37-743BD41AD1C8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9CB9B546-E679-220D-4007-5031D1D7589C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AEC49478-CE75-776F-B9DA-8910533C7EEE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7A0B1C9-2F1B-18B4-45DB-D7D93485C0E0}"/>
              </a:ext>
            </a:extLst>
          </p:cNvPr>
          <p:cNvSpPr txBox="1"/>
          <p:nvPr/>
        </p:nvSpPr>
        <p:spPr>
          <a:xfrm>
            <a:off x="884159" y="128224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b="1" dirty="0">
                <a:solidFill>
                  <a:schemeClr val="accent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PPT </a:t>
            </a:r>
            <a:r>
              <a:rPr kumimoji="1" lang="ko-KR" altLang="en-US" sz="1050" b="1" dirty="0">
                <a:solidFill>
                  <a:schemeClr val="accent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템플릿 공모전</a:t>
            </a:r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8BE427B2-23B0-0C99-802A-9633BB81C745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FE9E01DF-1DB2-F82A-DA19-B0B0B4078F7B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F3520CF1-AE7C-5297-7823-65205DA1FDA5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5D1DAE9F-CA38-B0C4-DEF6-2932036428B5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84344859-9316-F07B-C44C-2413A8445297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C6B1BF4C-7BAB-5914-1D28-7B6289F1AB97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C3568F9D-1DFD-0DBC-BF4D-AC9DFE97A8EA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20FD5705-69BF-09CA-4493-F13F93421ED4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1DD580E8-C82F-0889-5E63-CB3E20FFE387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0501D2E9-CA82-E68B-ACEA-F1E647563AAB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3AFDF4D5-FB20-EB93-37E8-C9D84BAA7DC0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B87DAA50-9769-8DF8-4517-F921A13D2DC6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9C1877E5-59EF-2929-C8F7-1B9852F76E89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8CE265D8-B41B-E6DA-3975-A2E2EB87C919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63A1D20A-9C23-E675-E2A5-1578350A1C30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9F9905D9-CD39-A0CD-D982-69C86E7E4185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39587F50-0EEA-305F-8EB2-9BB12B450032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4B68CC43-32CB-EE87-274D-DD2DC73C3D38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28A0C937-6C12-5A7B-E79F-28F3143F9855}"/>
              </a:ext>
            </a:extLst>
          </p:cNvPr>
          <p:cNvSpPr/>
          <p:nvPr/>
        </p:nvSpPr>
        <p:spPr>
          <a:xfrm>
            <a:off x="945747" y="46331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4EDDE901-29B4-A0E1-772C-B15928783A9A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68F83DB2-B190-0C12-7DFC-42C9DF2B3323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E03AFA0-F949-D66D-62DF-F4190200EF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5F563D68-3147-5B2E-4810-2A7D1B48B49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20E69E0A-DDDE-4F62-1323-33BBAD2AD891}"/>
              </a:ext>
            </a:extLst>
          </p:cNvPr>
          <p:cNvSpPr txBox="1"/>
          <p:nvPr/>
        </p:nvSpPr>
        <p:spPr>
          <a:xfrm>
            <a:off x="1606540" y="450119"/>
            <a:ext cx="31285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000" b="1" dirty="0"/>
              <a:t>Zero-shot learning</a:t>
            </a:r>
            <a:endParaRPr kumimoji="1" lang="ko-KR" altLang="en-US" sz="2000" b="1" dirty="0"/>
          </a:p>
        </p:txBody>
      </p:sp>
      <p:sp>
        <p:nvSpPr>
          <p:cNvPr id="74" name="삼각형 73">
            <a:extLst>
              <a:ext uri="{FF2B5EF4-FFF2-40B4-BE49-F238E27FC236}">
                <a16:creationId xmlns:a16="http://schemas.microsoft.com/office/drawing/2014/main" id="{705ABFC4-C30B-1104-4622-DED3CCD3E5C0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2EB50DEF-7D06-D23A-FAE8-E003C3021B07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60688DBB-EBCB-EDF1-710E-B3FCDCFBCC40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26ECEA9-A257-73D6-B5F2-21C6CDB95239}"/>
              </a:ext>
            </a:extLst>
          </p:cNvPr>
          <p:cNvSpPr txBox="1"/>
          <p:nvPr/>
        </p:nvSpPr>
        <p:spPr>
          <a:xfrm>
            <a:off x="980876" y="380426"/>
            <a:ext cx="5732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2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EC9AD569-E872-7B06-A831-714FC74BA701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89" name="그룹 88">
            <a:extLst>
              <a:ext uri="{FF2B5EF4-FFF2-40B4-BE49-F238E27FC236}">
                <a16:creationId xmlns:a16="http://schemas.microsoft.com/office/drawing/2014/main" id="{076CDE0F-CF6F-D97B-8983-96960FD2A134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85" name="모서리가 둥근 직사각형 84">
              <a:extLst>
                <a:ext uri="{FF2B5EF4-FFF2-40B4-BE49-F238E27FC236}">
                  <a16:creationId xmlns:a16="http://schemas.microsoft.com/office/drawing/2014/main" id="{BBF40A4B-D45B-D288-738D-A5425E61DE8E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86" name="모서리가 둥근 직사각형 85">
              <a:extLst>
                <a:ext uri="{FF2B5EF4-FFF2-40B4-BE49-F238E27FC236}">
                  <a16:creationId xmlns:a16="http://schemas.microsoft.com/office/drawing/2014/main" id="{1C1E6F2B-0558-5C15-63B8-F007E6A075D9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87" name="모서리가 둥근 직사각형 86">
              <a:extLst>
                <a:ext uri="{FF2B5EF4-FFF2-40B4-BE49-F238E27FC236}">
                  <a16:creationId xmlns:a16="http://schemas.microsoft.com/office/drawing/2014/main" id="{5672FFE0-33B7-4F26-4C50-6AD425A9D791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88" name="모서리가 둥근 직사각형 87">
              <a:extLst>
                <a:ext uri="{FF2B5EF4-FFF2-40B4-BE49-F238E27FC236}">
                  <a16:creationId xmlns:a16="http://schemas.microsoft.com/office/drawing/2014/main" id="{F94110D8-D515-D762-0C30-16C733603A37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FC5D22AB-25C2-B4E4-95D8-FCCD317B8315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304D3A67-B0AA-7804-3F77-149374DAC178}"/>
              </a:ext>
            </a:extLst>
          </p:cNvPr>
          <p:cNvSpPr txBox="1"/>
          <p:nvPr/>
        </p:nvSpPr>
        <p:spPr>
          <a:xfrm>
            <a:off x="10148949" y="392753"/>
            <a:ext cx="61174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900" b="1" dirty="0" err="1">
                <a:solidFill>
                  <a:schemeClr val="accent1">
                    <a:lumMod val="50000"/>
                  </a:schemeClr>
                </a:solidFill>
                <a:latin typeface="APPLE SD GOTHICNEO EXTRABOLD" panose="02000300000000000000" pitchFamily="2" charset="-127"/>
                <a:ea typeface="APPLE SD GOTHICNEO EXTRABOLD" panose="02000300000000000000" pitchFamily="2" charset="-127"/>
              </a:rPr>
              <a:t>대목차</a:t>
            </a:r>
            <a:r>
              <a:rPr kumimoji="1" lang="en-US" altLang="ko-KR" sz="900" b="1" dirty="0">
                <a:solidFill>
                  <a:schemeClr val="accent1">
                    <a:lumMod val="50000"/>
                  </a:schemeClr>
                </a:solidFill>
                <a:latin typeface="APPLE SD GOTHICNEO EXTRABOLD" panose="02000300000000000000" pitchFamily="2" charset="-127"/>
                <a:ea typeface="APPLE SD GOTHICNEO EXTRABOLD" panose="02000300000000000000" pitchFamily="2" charset="-127"/>
              </a:rPr>
              <a:t>1</a:t>
            </a:r>
            <a:endParaRPr kumimoji="1" lang="ko-KR" altLang="en-US" sz="900" b="1" dirty="0">
              <a:solidFill>
                <a:schemeClr val="accent1">
                  <a:lumMod val="50000"/>
                </a:schemeClr>
              </a:solidFill>
              <a:latin typeface="APPLE SD GOTHICNEO EXTRABOLD" panose="02000300000000000000" pitchFamily="2" charset="-127"/>
              <a:ea typeface="APPLE SD GOTHICNEO EXTRABOLD" panose="02000300000000000000" pitchFamily="2" charset="-127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E7C815EA-8026-6ABA-8261-B1B898F46BFA}"/>
              </a:ext>
            </a:extLst>
          </p:cNvPr>
          <p:cNvSpPr txBox="1"/>
          <p:nvPr/>
        </p:nvSpPr>
        <p:spPr>
          <a:xfrm>
            <a:off x="864604" y="996036"/>
            <a:ext cx="76037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200" dirty="0" err="1">
                <a:solidFill>
                  <a:schemeClr val="bg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거버닌</a:t>
            </a:r>
            <a:r>
              <a:rPr kumimoji="1" lang="ko-KR" altLang="en-US" sz="1200" dirty="0">
                <a:solidFill>
                  <a:schemeClr val="bg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 메시지</a:t>
            </a:r>
            <a:r>
              <a:rPr kumimoji="1" lang="en-US" altLang="ko-KR" sz="1200" dirty="0">
                <a:solidFill>
                  <a:schemeClr val="bg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1</a:t>
            </a:r>
            <a:endParaRPr kumimoji="1" lang="ko-KR" altLang="en-US" sz="1200" dirty="0">
              <a:solidFill>
                <a:schemeClr val="bg1">
                  <a:lumMod val="50000"/>
                </a:schemeClr>
              </a:solidFill>
              <a:latin typeface="Apple SD Gothic Neo" panose="02000300000000000000" pitchFamily="2" charset="-127"/>
              <a:ea typeface="Apple SD Gothic Neo" panose="02000300000000000000" pitchFamily="2" charset="-127"/>
            </a:endParaRP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71CA67E1-72DE-89A8-9D6A-F857C926171B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7B1C9DE1-AAAB-6420-C7BB-57CB53043CC5}"/>
              </a:ext>
            </a:extLst>
          </p:cNvPr>
          <p:cNvSpPr txBox="1"/>
          <p:nvPr/>
        </p:nvSpPr>
        <p:spPr>
          <a:xfrm>
            <a:off x="1002423" y="1441608"/>
            <a:ext cx="76037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400" b="1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사전 지식</a:t>
            </a:r>
          </a:p>
        </p:txBody>
      </p:sp>
      <p:cxnSp>
        <p:nvCxnSpPr>
          <p:cNvPr id="116" name="직선 연결선[R] 115">
            <a:extLst>
              <a:ext uri="{FF2B5EF4-FFF2-40B4-BE49-F238E27FC236}">
                <a16:creationId xmlns:a16="http://schemas.microsoft.com/office/drawing/2014/main" id="{1B496464-469C-8AAD-257A-8FD26BA386E2}"/>
              </a:ext>
            </a:extLst>
          </p:cNvPr>
          <p:cNvCxnSpPr>
            <a:cxnSpLocks/>
          </p:cNvCxnSpPr>
          <p:nvPr/>
        </p:nvCxnSpPr>
        <p:spPr>
          <a:xfrm>
            <a:off x="11785494" y="3128095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직선 연결선[R] 116">
            <a:extLst>
              <a:ext uri="{FF2B5EF4-FFF2-40B4-BE49-F238E27FC236}">
                <a16:creationId xmlns:a16="http://schemas.microsoft.com/office/drawing/2014/main" id="{EB2C9550-D2CD-65D1-8FA4-E415BE0FCAA9}"/>
              </a:ext>
            </a:extLst>
          </p:cNvPr>
          <p:cNvCxnSpPr>
            <a:cxnSpLocks/>
          </p:cNvCxnSpPr>
          <p:nvPr/>
        </p:nvCxnSpPr>
        <p:spPr>
          <a:xfrm>
            <a:off x="11785494" y="4021439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직선 연결선[R] 117">
            <a:extLst>
              <a:ext uri="{FF2B5EF4-FFF2-40B4-BE49-F238E27FC236}">
                <a16:creationId xmlns:a16="http://schemas.microsoft.com/office/drawing/2014/main" id="{D243165D-94D6-637B-EF2B-0990BC67ABD8}"/>
              </a:ext>
            </a:extLst>
          </p:cNvPr>
          <p:cNvCxnSpPr>
            <a:cxnSpLocks/>
          </p:cNvCxnSpPr>
          <p:nvPr/>
        </p:nvCxnSpPr>
        <p:spPr>
          <a:xfrm>
            <a:off x="11785494" y="4914783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1EFA9ABA-1EF2-F754-1362-532B90623EC6}"/>
              </a:ext>
            </a:extLst>
          </p:cNvPr>
          <p:cNvSpPr/>
          <p:nvPr/>
        </p:nvSpPr>
        <p:spPr>
          <a:xfrm>
            <a:off x="11774369" y="1871641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970C5B33-6EF5-F6D6-F907-6DB63F91998D}"/>
              </a:ext>
            </a:extLst>
          </p:cNvPr>
          <p:cNvSpPr txBox="1"/>
          <p:nvPr/>
        </p:nvSpPr>
        <p:spPr>
          <a:xfrm>
            <a:off x="11829560" y="2103538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1</a:t>
            </a:r>
          </a:p>
        </p:txBody>
      </p: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FF609C74-6BE7-9F69-6BD8-AACA588E1A97}"/>
              </a:ext>
            </a:extLst>
          </p:cNvPr>
          <p:cNvSpPr/>
          <p:nvPr/>
        </p:nvSpPr>
        <p:spPr>
          <a:xfrm>
            <a:off x="11692678" y="1891791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124" name="직사각형 123">
            <a:extLst>
              <a:ext uri="{FF2B5EF4-FFF2-40B4-BE49-F238E27FC236}">
                <a16:creationId xmlns:a16="http://schemas.microsoft.com/office/drawing/2014/main" id="{2E97B470-13AB-4539-59A4-6468F8AF45FE}"/>
              </a:ext>
            </a:extLst>
          </p:cNvPr>
          <p:cNvSpPr/>
          <p:nvPr/>
        </p:nvSpPr>
        <p:spPr>
          <a:xfrm>
            <a:off x="11692678" y="3147275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sp>
        <p:nvSpPr>
          <p:cNvPr id="127" name="직사각형 126">
            <a:extLst>
              <a:ext uri="{FF2B5EF4-FFF2-40B4-BE49-F238E27FC236}">
                <a16:creationId xmlns:a16="http://schemas.microsoft.com/office/drawing/2014/main" id="{43193FD7-A2DA-FD26-E09C-2EA8948FBD3A}"/>
              </a:ext>
            </a:extLst>
          </p:cNvPr>
          <p:cNvSpPr/>
          <p:nvPr/>
        </p:nvSpPr>
        <p:spPr>
          <a:xfrm>
            <a:off x="11692678" y="4038192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128" name="직사각형 127">
            <a:extLst>
              <a:ext uri="{FF2B5EF4-FFF2-40B4-BE49-F238E27FC236}">
                <a16:creationId xmlns:a16="http://schemas.microsoft.com/office/drawing/2014/main" id="{DBA710FB-E494-5825-BEC5-10B50345408F}"/>
              </a:ext>
            </a:extLst>
          </p:cNvPr>
          <p:cNvSpPr/>
          <p:nvPr/>
        </p:nvSpPr>
        <p:spPr>
          <a:xfrm>
            <a:off x="11692678" y="4924621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532FF9C1-754D-F043-2977-0AAB44422DBD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9A091E7B-ED34-2E94-A9A8-7463BA7D5C14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78B902D3-8DA4-6925-1587-3ABE4FF87FD3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9108B1B3-D3EE-7E4D-1F22-6AB4C53BDC99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0414233E-DCCF-92A8-C1D0-C4CE18819B7A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CCC57ACE-AE0E-09BD-A7A8-9A093AD1C1C5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D622A81A-F0D0-A8A2-7C4E-EA05FDD41F28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48FB6B8C-D489-EA45-5443-886C8063A131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A22E8447-461C-7E58-F046-D48A31E25868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FA75D924-DE2C-50D6-04AC-2720C12C0985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EB39B8BC-6A7F-DBE0-6B2F-0B99214DAAF6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5D59792C-5C0F-D3BE-4890-8240509E59B8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A9182245-C1BA-E7B2-A84B-AEF47A7683F2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0F6E9E6D-4244-8F73-C8E7-17FDB9F1F767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707367E6-FEB5-C7EC-B81E-2E1B5B092296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547031B0-71DE-9C5D-71A2-C9B44E9DE2F9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F29490D1-0623-4AF2-684C-1D05FBCB28E6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0AE365EA-8577-8483-4D0F-7C352F184DF5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9DC6ECEA-A4E4-7E79-B4F9-A257B60901EA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5ED9F8D7-55C6-7D38-AB02-143184020E02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292717C9-0B82-903B-F617-B42081A7CA7B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8B850B20-0C3B-8D52-7454-452E726D996E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CC286277-8C50-769A-70A0-541A74F26C3A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AB91F1EE-C44D-413B-A9BA-7F5EE703C9CB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E63163C2-FEB4-8F3B-536C-576D75821E1E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7253C20D-D840-5791-7512-25B9F0BDB83B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9A597813-EE7B-89B8-D0E1-84F84D0982D1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8FE6BAD7-07C4-DD9B-4782-09D301319264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48F47682-7979-E87C-BA78-7722D5E71946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9942E09B-E0B9-C874-B1A0-0D10FB2FAB19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직사각형 131">
            <a:extLst>
              <a:ext uri="{FF2B5EF4-FFF2-40B4-BE49-F238E27FC236}">
                <a16:creationId xmlns:a16="http://schemas.microsoft.com/office/drawing/2014/main" id="{FF49FB61-6806-70AC-7A19-ADAA58410C24}"/>
              </a:ext>
            </a:extLst>
          </p:cNvPr>
          <p:cNvSpPr/>
          <p:nvPr/>
        </p:nvSpPr>
        <p:spPr>
          <a:xfrm>
            <a:off x="2372360" y="1486994"/>
            <a:ext cx="7218449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pic>
        <p:nvPicPr>
          <p:cNvPr id="8" name="그래픽 7" descr="막대 그래프 상향 추세 단색으로 채워진">
            <a:extLst>
              <a:ext uri="{FF2B5EF4-FFF2-40B4-BE49-F238E27FC236}">
                <a16:creationId xmlns:a16="http://schemas.microsoft.com/office/drawing/2014/main" id="{86893E50-CB91-AA55-916E-6FF5EEC9172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488910" y="2303550"/>
            <a:ext cx="407155" cy="407155"/>
          </a:xfrm>
          <a:prstGeom prst="rect">
            <a:avLst/>
          </a:prstGeom>
        </p:spPr>
      </p:pic>
      <p:pic>
        <p:nvPicPr>
          <p:cNvPr id="10" name="그래픽 9" descr="그룹 브레인스토밍 단색으로 채워진">
            <a:extLst>
              <a:ext uri="{FF2B5EF4-FFF2-40B4-BE49-F238E27FC236}">
                <a16:creationId xmlns:a16="http://schemas.microsoft.com/office/drawing/2014/main" id="{A307F234-ACD4-3C19-BDEE-B172D1AFB8F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52300" y="3201603"/>
            <a:ext cx="510098" cy="510098"/>
          </a:xfrm>
          <a:prstGeom prst="rect">
            <a:avLst/>
          </a:prstGeom>
        </p:spPr>
      </p:pic>
      <p:sp>
        <p:nvSpPr>
          <p:cNvPr id="146" name="바닥글 개체 틀 2">
            <a:extLst>
              <a:ext uri="{FF2B5EF4-FFF2-40B4-BE49-F238E27FC236}">
                <a16:creationId xmlns:a16="http://schemas.microsoft.com/office/drawing/2014/main" id="{594773FC-9269-2D56-AC64-53C48E61E2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54706" y="6492875"/>
            <a:ext cx="4526280" cy="365125"/>
          </a:xfrm>
        </p:spPr>
        <p:txBody>
          <a:bodyPr/>
          <a:lstStyle/>
          <a:p>
            <a:r>
              <a:rPr lang="en-US" altLang="ko-KR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- 4/8</a:t>
            </a:r>
            <a:r>
              <a:rPr lang="ko-KR" altLang="en-US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 </a:t>
            </a:r>
            <a:r>
              <a:rPr lang="en-US" altLang="ko-KR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-</a:t>
            </a:r>
            <a:endParaRPr lang="ko-KR" altLang="en-US" sz="1100" dirty="0">
              <a:latin typeface="Apple SD Gothic Neo" panose="02000300000000000000" pitchFamily="2" charset="-127"/>
              <a:ea typeface="Apple SD Gothic Neo" panose="02000300000000000000" pitchFamily="2" charset="-127"/>
            </a:endParaRPr>
          </a:p>
        </p:txBody>
      </p:sp>
      <p:pic>
        <p:nvPicPr>
          <p:cNvPr id="158" name="그림 157">
            <a:extLst>
              <a:ext uri="{FF2B5EF4-FFF2-40B4-BE49-F238E27FC236}">
                <a16:creationId xmlns:a16="http://schemas.microsoft.com/office/drawing/2014/main" id="{9B79A27C-6CC2-EE56-5F03-D979E7FEFDD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id="{51A29E09-B658-A754-43AE-C94535B1108C}"/>
              </a:ext>
            </a:extLst>
          </p:cNvPr>
          <p:cNvSpPr/>
          <p:nvPr/>
        </p:nvSpPr>
        <p:spPr>
          <a:xfrm>
            <a:off x="912650" y="1815111"/>
            <a:ext cx="1027692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- </a:t>
            </a:r>
            <a:r>
              <a:rPr kumimoji="1" lang="ko-KR" altLang="en-US" dirty="0">
                <a:solidFill>
                  <a:schemeClr val="tx1"/>
                </a:solidFill>
              </a:rPr>
              <a:t>정답 레이블이 함께 존재하지 않는 데이터가 많다</a:t>
            </a:r>
          </a:p>
          <a:p>
            <a:pPr>
              <a:lnSpc>
                <a:spcPct val="150000"/>
              </a:lnSpc>
            </a:pPr>
            <a:r>
              <a:rPr kumimoji="1" lang="en-US" altLang="ko-KR" dirty="0">
                <a:solidFill>
                  <a:schemeClr val="tx1"/>
                </a:solidFill>
              </a:rPr>
              <a:t>- </a:t>
            </a:r>
            <a:r>
              <a:rPr kumimoji="1" lang="ko-KR" altLang="en-US" dirty="0">
                <a:solidFill>
                  <a:schemeClr val="tx1"/>
                </a:solidFill>
              </a:rPr>
              <a:t>레이블 지정하는데 시간과 비용이 들고 어떤 경우에는 전문가만이 </a:t>
            </a:r>
            <a:r>
              <a:rPr kumimoji="1" lang="ko-KR" altLang="en-US" dirty="0" err="1">
                <a:solidFill>
                  <a:schemeClr val="tx1"/>
                </a:solidFill>
              </a:rPr>
              <a:t>수행가능하다</a:t>
            </a:r>
            <a:r>
              <a:rPr kumimoji="1" lang="en-US" altLang="ko-KR" dirty="0">
                <a:solidFill>
                  <a:schemeClr val="tx1"/>
                </a:solidFill>
              </a:rPr>
              <a:t>.</a:t>
            </a: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ko-KR" altLang="en-US" dirty="0">
              <a:solidFill>
                <a:schemeClr val="tx1"/>
              </a:solidFill>
            </a:endParaRPr>
          </a:p>
        </p:txBody>
      </p:sp>
      <p:pic>
        <p:nvPicPr>
          <p:cNvPr id="4" name="그림 3" descr="포유류, 호랑이, 빅캣, 벵갈 호랑이이(가) 표시된 사진&#10;&#10;자동 생성된 설명">
            <a:extLst>
              <a:ext uri="{FF2B5EF4-FFF2-40B4-BE49-F238E27FC236}">
                <a16:creationId xmlns:a16="http://schemas.microsoft.com/office/drawing/2014/main" id="{56EDF56B-56A0-15AA-B6B1-C9D310C74B8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621826" y="4143470"/>
            <a:ext cx="1142621" cy="791836"/>
          </a:xfrm>
          <a:prstGeom prst="rect">
            <a:avLst/>
          </a:prstGeom>
        </p:spPr>
      </p:pic>
      <p:pic>
        <p:nvPicPr>
          <p:cNvPr id="6" name="그림 5" descr="포유류, 빅캣, 잔디, 야외이(가) 표시된 사진&#10;&#10;자동 생성된 설명">
            <a:extLst>
              <a:ext uri="{FF2B5EF4-FFF2-40B4-BE49-F238E27FC236}">
                <a16:creationId xmlns:a16="http://schemas.microsoft.com/office/drawing/2014/main" id="{5D154671-C748-8744-11A3-3177A2E1E05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550221" y="4047961"/>
            <a:ext cx="1292994" cy="861134"/>
          </a:xfrm>
          <a:prstGeom prst="rect">
            <a:avLst/>
          </a:prstGeom>
        </p:spPr>
      </p:pic>
      <p:pic>
        <p:nvPicPr>
          <p:cNvPr id="15" name="그림 14" descr="잔디, 고양이, 중소형 고양이, 포유류이(가) 표시된 사진&#10;&#10;자동 생성된 설명">
            <a:extLst>
              <a:ext uri="{FF2B5EF4-FFF2-40B4-BE49-F238E27FC236}">
                <a16:creationId xmlns:a16="http://schemas.microsoft.com/office/drawing/2014/main" id="{4DADD925-31C3-A84B-48A1-CFB09472516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828112" y="4522278"/>
            <a:ext cx="1341169" cy="894113"/>
          </a:xfrm>
          <a:prstGeom prst="rect">
            <a:avLst/>
          </a:prstGeom>
        </p:spPr>
      </p:pic>
      <p:pic>
        <p:nvPicPr>
          <p:cNvPr id="17" name="그림 16" descr="포유류, 하이에나, 육상동물, 야외이(가) 표시된 사진&#10;&#10;자동 생성된 설명">
            <a:extLst>
              <a:ext uri="{FF2B5EF4-FFF2-40B4-BE49-F238E27FC236}">
                <a16:creationId xmlns:a16="http://schemas.microsoft.com/office/drawing/2014/main" id="{5D5D85B3-E85B-F0ED-9A29-A4170A019E3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754991" y="3855900"/>
            <a:ext cx="1298251" cy="1003291"/>
          </a:xfrm>
          <a:prstGeom prst="rect">
            <a:avLst/>
          </a:prstGeom>
        </p:spPr>
      </p:pic>
      <p:pic>
        <p:nvPicPr>
          <p:cNvPr id="25" name="그림 24" descr="개, 포유류, 개 품종, 애완동물이(가) 표시된 사진&#10;&#10;자동 생성된 설명">
            <a:extLst>
              <a:ext uri="{FF2B5EF4-FFF2-40B4-BE49-F238E27FC236}">
                <a16:creationId xmlns:a16="http://schemas.microsoft.com/office/drawing/2014/main" id="{0FB7FB99-0AAA-9EF0-816E-56C1B0CE339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008534" y="4021439"/>
            <a:ext cx="1221376" cy="812770"/>
          </a:xfrm>
          <a:prstGeom prst="rect">
            <a:avLst/>
          </a:prstGeom>
        </p:spPr>
      </p:pic>
      <p:pic>
        <p:nvPicPr>
          <p:cNvPr id="28" name="그림 27" descr="포유류, 빅캣, 야외, 치타이(가) 표시된 사진&#10;&#10;자동 생성된 설명">
            <a:extLst>
              <a:ext uri="{FF2B5EF4-FFF2-40B4-BE49-F238E27FC236}">
                <a16:creationId xmlns:a16="http://schemas.microsoft.com/office/drawing/2014/main" id="{EF1B8164-8C80-911F-9775-F98508499D4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397473" y="3359950"/>
            <a:ext cx="1168143" cy="809047"/>
          </a:xfrm>
          <a:prstGeom prst="rect">
            <a:avLst/>
          </a:prstGeom>
        </p:spPr>
      </p:pic>
      <p:sp>
        <p:nvSpPr>
          <p:cNvPr id="33" name="직사각형 32">
            <a:extLst>
              <a:ext uri="{FF2B5EF4-FFF2-40B4-BE49-F238E27FC236}">
                <a16:creationId xmlns:a16="http://schemas.microsoft.com/office/drawing/2014/main" id="{6BC22E9F-0946-F076-D00A-D5DCB00C038F}"/>
              </a:ext>
            </a:extLst>
          </p:cNvPr>
          <p:cNvSpPr/>
          <p:nvPr/>
        </p:nvSpPr>
        <p:spPr>
          <a:xfrm>
            <a:off x="1514013" y="5367075"/>
            <a:ext cx="1163573" cy="42436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tiger</a:t>
            </a:r>
            <a:endParaRPr lang="ko-KR" altLang="en-US" dirty="0"/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93276816-BC14-F4C5-51CC-F5516D8AAF0F}"/>
              </a:ext>
            </a:extLst>
          </p:cNvPr>
          <p:cNvSpPr/>
          <p:nvPr/>
        </p:nvSpPr>
        <p:spPr>
          <a:xfrm>
            <a:off x="3579413" y="5367075"/>
            <a:ext cx="1163573" cy="42436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lion</a:t>
            </a:r>
            <a:endParaRPr lang="ko-KR" altLang="en-US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07B2FAD-6304-1752-1A73-FD13919DB5D9}"/>
              </a:ext>
            </a:extLst>
          </p:cNvPr>
          <p:cNvSpPr txBox="1"/>
          <p:nvPr/>
        </p:nvSpPr>
        <p:spPr>
          <a:xfrm>
            <a:off x="2745809" y="4997743"/>
            <a:ext cx="8094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label</a:t>
            </a:r>
            <a:endParaRPr lang="ko-KR" altLang="en-US" dirty="0"/>
          </a:p>
        </p:txBody>
      </p:sp>
      <p:pic>
        <p:nvPicPr>
          <p:cNvPr id="40" name="그림 39" descr="포유류, 빅캣, 호랑이, 동물원이(가) 표시된 사진&#10;&#10;자동 생성된 설명">
            <a:extLst>
              <a:ext uri="{FF2B5EF4-FFF2-40B4-BE49-F238E27FC236}">
                <a16:creationId xmlns:a16="http://schemas.microsoft.com/office/drawing/2014/main" id="{B4714AC8-BEA3-1A45-DC9C-05C8C11A5CB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455578" y="2971312"/>
            <a:ext cx="784072" cy="1178250"/>
          </a:xfrm>
          <a:prstGeom prst="rect">
            <a:avLst/>
          </a:prstGeom>
        </p:spPr>
      </p:pic>
      <p:pic>
        <p:nvPicPr>
          <p:cNvPr id="44" name="그림 43" descr="새, 야외, 타조, 날지 못하는 새이(가) 표시된 사진&#10;&#10;자동 생성된 설명">
            <a:extLst>
              <a:ext uri="{FF2B5EF4-FFF2-40B4-BE49-F238E27FC236}">
                <a16:creationId xmlns:a16="http://schemas.microsoft.com/office/drawing/2014/main" id="{9EEE6061-DDB7-517F-CF69-10138E039CBC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978888" y="3764473"/>
            <a:ext cx="1489432" cy="991962"/>
          </a:xfrm>
          <a:prstGeom prst="rect">
            <a:avLst/>
          </a:prstGeom>
        </p:spPr>
      </p:pic>
      <p:sp>
        <p:nvSpPr>
          <p:cNvPr id="49" name="직사각형 48">
            <a:extLst>
              <a:ext uri="{FF2B5EF4-FFF2-40B4-BE49-F238E27FC236}">
                <a16:creationId xmlns:a16="http://schemas.microsoft.com/office/drawing/2014/main" id="{3360E02A-C72D-C57A-83CA-8654AC72312B}"/>
              </a:ext>
            </a:extLst>
          </p:cNvPr>
          <p:cNvSpPr/>
          <p:nvPr/>
        </p:nvSpPr>
        <p:spPr>
          <a:xfrm>
            <a:off x="6916909" y="5557491"/>
            <a:ext cx="1163573" cy="42436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?</a:t>
            </a:r>
            <a:endParaRPr lang="ko-KR" altLang="en-US" dirty="0"/>
          </a:p>
        </p:txBody>
      </p:sp>
      <p:grpSp>
        <p:nvGrpSpPr>
          <p:cNvPr id="67" name="그룹 66">
            <a:extLst>
              <a:ext uri="{FF2B5EF4-FFF2-40B4-BE49-F238E27FC236}">
                <a16:creationId xmlns:a16="http://schemas.microsoft.com/office/drawing/2014/main" id="{7A5BA3EA-BCD8-64DA-A699-DB14D564BCE0}"/>
              </a:ext>
            </a:extLst>
          </p:cNvPr>
          <p:cNvGrpSpPr/>
          <p:nvPr/>
        </p:nvGrpSpPr>
        <p:grpSpPr>
          <a:xfrm>
            <a:off x="9730738" y="1521984"/>
            <a:ext cx="1537816" cy="91503"/>
            <a:chOff x="9813518" y="1638458"/>
            <a:chExt cx="1416568" cy="84289"/>
          </a:xfrm>
        </p:grpSpPr>
        <p:sp>
          <p:nvSpPr>
            <p:cNvPr id="69" name="오각형[P] 102">
              <a:extLst>
                <a:ext uri="{FF2B5EF4-FFF2-40B4-BE49-F238E27FC236}">
                  <a16:creationId xmlns:a16="http://schemas.microsoft.com/office/drawing/2014/main" id="{D5761F07-B91F-F718-38B6-F2DC0921EFC7}"/>
                </a:ext>
              </a:extLst>
            </p:cNvPr>
            <p:cNvSpPr/>
            <p:nvPr/>
          </p:nvSpPr>
          <p:spPr>
            <a:xfrm>
              <a:off x="10168686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0" name="오각형[P] 103">
              <a:extLst>
                <a:ext uri="{FF2B5EF4-FFF2-40B4-BE49-F238E27FC236}">
                  <a16:creationId xmlns:a16="http://schemas.microsoft.com/office/drawing/2014/main" id="{53AE865A-D9AF-D657-397F-30119498A45B}"/>
                </a:ext>
              </a:extLst>
            </p:cNvPr>
            <p:cNvSpPr/>
            <p:nvPr/>
          </p:nvSpPr>
          <p:spPr>
            <a:xfrm>
              <a:off x="9813518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1" name="오각형[P] 104">
              <a:extLst>
                <a:ext uri="{FF2B5EF4-FFF2-40B4-BE49-F238E27FC236}">
                  <a16:creationId xmlns:a16="http://schemas.microsoft.com/office/drawing/2014/main" id="{3632BC53-9F55-DDA8-584A-0FCB05821625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72" name="오각형[P] 105">
              <a:extLst>
                <a:ext uri="{FF2B5EF4-FFF2-40B4-BE49-F238E27FC236}">
                  <a16:creationId xmlns:a16="http://schemas.microsoft.com/office/drawing/2014/main" id="{B37F2B23-6C5B-EC09-3615-0141D7953ADB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6066851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7D05F8-5CBF-EB4F-5761-287AC5B0D0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F15C4D95-484C-1642-0C89-5EE145CAD109}"/>
              </a:ext>
            </a:extLst>
          </p:cNvPr>
          <p:cNvSpPr/>
          <p:nvPr/>
        </p:nvSpPr>
        <p:spPr>
          <a:xfrm>
            <a:off x="912650" y="1815111"/>
            <a:ext cx="1027692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kumimoji="1" lang="ko-KR" altLang="en-US" dirty="0">
                <a:solidFill>
                  <a:schemeClr val="tx1"/>
                </a:solidFill>
              </a:rPr>
              <a:t>그래서 레이블이 존재하는 데이터가 없는 상황 속에서</a:t>
            </a:r>
            <a:r>
              <a:rPr kumimoji="1" lang="en-US" altLang="ko-KR" dirty="0">
                <a:solidFill>
                  <a:schemeClr val="tx1"/>
                </a:solidFill>
              </a:rPr>
              <a:t>, </a:t>
            </a:r>
            <a:r>
              <a:rPr kumimoji="1" lang="ko-KR" altLang="en-US" dirty="0">
                <a:solidFill>
                  <a:schemeClr val="tx1"/>
                </a:solidFill>
              </a:rPr>
              <a:t>해당 카테고리의 데이터를 올바르게 예측하는 것이 중요함</a:t>
            </a:r>
            <a:r>
              <a:rPr kumimoji="1" lang="en-US" altLang="ko-KR" dirty="0">
                <a:solidFill>
                  <a:schemeClr val="tx1"/>
                </a:solidFill>
              </a:rPr>
              <a:t>-&gt; </a:t>
            </a:r>
            <a:r>
              <a:rPr kumimoji="1" lang="ko-KR" altLang="en-US" dirty="0">
                <a:solidFill>
                  <a:schemeClr val="tx1"/>
                </a:solidFill>
              </a:rPr>
              <a:t> </a:t>
            </a:r>
            <a:r>
              <a:rPr kumimoji="1" lang="en-US" altLang="ko-KR" dirty="0">
                <a:solidFill>
                  <a:schemeClr val="tx1"/>
                </a:solidFill>
              </a:rPr>
              <a:t>zero-shot learning</a:t>
            </a:r>
            <a:r>
              <a:rPr kumimoji="1" lang="ko-KR" altLang="en-US" dirty="0">
                <a:solidFill>
                  <a:schemeClr val="tx1"/>
                </a:solidFill>
              </a:rPr>
              <a:t>을 사용하게 됨</a:t>
            </a:r>
            <a:r>
              <a:rPr kumimoji="1" lang="en-US" altLang="ko-KR" dirty="0">
                <a:solidFill>
                  <a:schemeClr val="tx1"/>
                </a:solidFill>
              </a:rPr>
              <a:t>.</a:t>
            </a: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</a:pPr>
            <a:endParaRPr kumimoji="1" lang="ko-KR" altLang="en-US" dirty="0">
              <a:solidFill>
                <a:schemeClr val="tx1"/>
              </a:solidFill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482E9AEE-77A3-286A-93BE-94ECFFB51930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77EA424F-3E5F-741E-61F6-2B6B1696008F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FA447DA9-4972-48EC-BC74-ACF4186D6FFB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5B4AA511-75E5-ED10-6225-3F7A6B40E406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1B78FE48-A206-31EE-7496-B2DA403A9F8E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A7CF4CAD-116C-2045-4009-D091A995169D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6A8801D2-4234-48B6-1ABB-593AA641328A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43F6C0A6-3737-3CB9-CA63-D1D9535ADDE3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3D968AB6-0077-5638-3AB4-989FD966CE15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12825696-8188-A60D-D68E-EA79C118A21B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307D67AC-45D6-0F25-6C35-9D1AF3D3E0F3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527549FC-1D60-40C1-EE89-9688743420D3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18EFC75C-FC2E-CD8D-2207-2D21A2BC7721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B7C0C770-B82D-1832-4046-1247F51D1DB1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1F0872C7-5682-8886-52B9-5D523C34CAE0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990109A7-371A-540A-5E72-3364181AA1AB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7B9FB36D-211A-837F-2EEC-C53D98853893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F5892384-B6CE-B86A-D9A7-5525E195CE4B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9AD24260-F8ED-07E0-3C0B-FCC7E07C2577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82D1A566-6D86-6BA0-5291-029571835B68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341FB924-78EE-6A3D-668A-86F1E519E688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BEA8EE9-3AB2-AC65-5BF2-49AE9AEE7E5B}"/>
              </a:ext>
            </a:extLst>
          </p:cNvPr>
          <p:cNvSpPr/>
          <p:nvPr/>
        </p:nvSpPr>
        <p:spPr>
          <a:xfrm>
            <a:off x="945747" y="46331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2B50AA54-30B4-E035-CAFB-6487B2971D7F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5B50535B-4BEE-92D2-B997-D7249F89A5FC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94F78381-A8D2-728F-45E3-BC2008BF2B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BE1C8D7F-C0F2-9F58-BBCD-8A17F92F0AE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F377902B-CEF3-2480-E628-8C4E4D8B810A}"/>
              </a:ext>
            </a:extLst>
          </p:cNvPr>
          <p:cNvSpPr txBox="1"/>
          <p:nvPr/>
        </p:nvSpPr>
        <p:spPr>
          <a:xfrm>
            <a:off x="1606540" y="450119"/>
            <a:ext cx="31285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000" b="1" dirty="0"/>
              <a:t>Zero-shot learning</a:t>
            </a:r>
            <a:endParaRPr kumimoji="1" lang="ko-KR" altLang="en-US" sz="2000" b="1" dirty="0"/>
          </a:p>
        </p:txBody>
      </p:sp>
      <p:sp>
        <p:nvSpPr>
          <p:cNvPr id="74" name="삼각형 73">
            <a:extLst>
              <a:ext uri="{FF2B5EF4-FFF2-40B4-BE49-F238E27FC236}">
                <a16:creationId xmlns:a16="http://schemas.microsoft.com/office/drawing/2014/main" id="{EDF85B1E-48C0-F13E-AF57-1D99137925C2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5BC905E4-5252-C48B-0092-DBB859D7F82D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F52EF097-FDCD-058B-420B-B44B1B1BAA73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476AD09-2CDF-3CC4-FA54-A35C02DF5918}"/>
              </a:ext>
            </a:extLst>
          </p:cNvPr>
          <p:cNvSpPr txBox="1"/>
          <p:nvPr/>
        </p:nvSpPr>
        <p:spPr>
          <a:xfrm>
            <a:off x="980876" y="380426"/>
            <a:ext cx="601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2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944B19C5-717D-FCFD-174B-244AC164E57C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6434DB36-A7D7-C666-4436-9F34552179DD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98">
            <a:extLst>
              <a:ext uri="{FF2B5EF4-FFF2-40B4-BE49-F238E27FC236}">
                <a16:creationId xmlns:a16="http://schemas.microsoft.com/office/drawing/2014/main" id="{1F8A99F9-905B-4E01-C3F7-014B8916EBAC}"/>
              </a:ext>
            </a:extLst>
          </p:cNvPr>
          <p:cNvSpPr txBox="1"/>
          <p:nvPr/>
        </p:nvSpPr>
        <p:spPr>
          <a:xfrm>
            <a:off x="864604" y="996036"/>
            <a:ext cx="76037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200" dirty="0" err="1">
                <a:solidFill>
                  <a:schemeClr val="bg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거버닌</a:t>
            </a:r>
            <a:r>
              <a:rPr kumimoji="1" lang="ko-KR" altLang="en-US" sz="1200" dirty="0">
                <a:solidFill>
                  <a:schemeClr val="bg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 메시지</a:t>
            </a:r>
            <a:r>
              <a:rPr kumimoji="1" lang="en-US" altLang="ko-KR" sz="1200" dirty="0">
                <a:solidFill>
                  <a:schemeClr val="bg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1</a:t>
            </a:r>
            <a:endParaRPr kumimoji="1" lang="ko-KR" altLang="en-US" sz="1200" dirty="0">
              <a:solidFill>
                <a:schemeClr val="bg1">
                  <a:lumMod val="50000"/>
                </a:schemeClr>
              </a:solidFill>
              <a:latin typeface="Apple SD Gothic Neo" panose="02000300000000000000" pitchFamily="2" charset="-127"/>
              <a:ea typeface="Apple SD Gothic Neo" panose="02000300000000000000" pitchFamily="2" charset="-127"/>
            </a:endParaRP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AA703441-335D-CBAB-5A54-0C354E8807C3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A95BE357-03F4-186B-9BF2-0B885EFC017E}"/>
              </a:ext>
            </a:extLst>
          </p:cNvPr>
          <p:cNvSpPr txBox="1"/>
          <p:nvPr/>
        </p:nvSpPr>
        <p:spPr>
          <a:xfrm>
            <a:off x="1002423" y="1441608"/>
            <a:ext cx="76037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400" b="1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중요성</a:t>
            </a:r>
          </a:p>
        </p:txBody>
      </p: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5E7EDFA8-2A73-9374-DED8-DC3F7EA332BE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66BD6B09-65D9-B170-96E6-A1AA45D7F4C4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1DD70ACF-DAB2-8BF4-35CD-92E45DFA8888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0C6FE8DA-8640-D66C-FF08-9DF4E549F54E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F46DA9AD-3E2E-036A-2FC1-08A45F3A749A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F247ACE6-7CB4-CCA8-79CC-A644AC8F1A27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2CD9795C-FB28-EFE4-E5F3-E490810A908E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6E4010A8-230D-E060-7613-7163D25C6893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ECC5740D-9693-6916-D2E0-5E69C0E141FA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5545CE6B-1F86-C7F0-434F-FC6586F06470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D6697BE8-DD0A-439A-207E-547AA34E7D1A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A325031D-CA55-3260-26C5-E04927D5A9E6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1DF12ED7-BEB8-2572-C6C2-0CC28A4047A3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B4BD6B17-151C-E7B2-DDA4-5616A6D24626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A7DD81D0-534A-F003-E14E-E8041DB9FC05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9DE4628F-1925-866B-950C-17AE87DFACCA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DA81FF84-33C6-DB97-F228-6F2C8D26D8CB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053BE9DB-23C2-8FC2-7610-8E136685F95B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0950590B-CD59-2F32-D2F9-872A77E04442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D86BE943-AEC0-EF33-30C7-7A22CB12058B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02967DDE-962A-FC0F-F55E-E11A94CDE628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9F08644E-38CE-14AB-68AD-3879D4CCAEB5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4955182F-A0D8-FBAA-A1DC-ECFBAD7C6DA3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DB1ACAC7-2D92-E959-117A-D4FFF02BCBAF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AC27C272-F763-E444-53E7-BB70B89DD213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594E9322-EEDE-ECEA-F60C-35D4926415C6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850EBCED-7EE3-6C19-C986-EB30A9A68B28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C3811411-0729-FBDF-5620-AA8B0346B615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95CEB848-5A50-8CA2-93C3-6792F9EB70B2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2F1958F5-E797-5E59-ED04-0CA7333F5CDC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765B824E-D725-7CE5-09C9-AEBDF5E6D67B}"/>
              </a:ext>
            </a:extLst>
          </p:cNvPr>
          <p:cNvSpPr txBox="1"/>
          <p:nvPr/>
        </p:nvSpPr>
        <p:spPr>
          <a:xfrm>
            <a:off x="884159" y="128224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b="1" dirty="0">
                <a:solidFill>
                  <a:schemeClr val="accent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PPT </a:t>
            </a:r>
            <a:r>
              <a:rPr kumimoji="1" lang="ko-KR" altLang="en-US" sz="1050" b="1" dirty="0">
                <a:solidFill>
                  <a:schemeClr val="accent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템플릿 공모전</a:t>
            </a:r>
          </a:p>
        </p:txBody>
      </p: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83756BB3-5DE0-3FEE-E313-4816E29379D5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cxnSp>
        <p:nvCxnSpPr>
          <p:cNvPr id="161" name="직선 연결선[R] 116">
            <a:extLst>
              <a:ext uri="{FF2B5EF4-FFF2-40B4-BE49-F238E27FC236}">
                <a16:creationId xmlns:a16="http://schemas.microsoft.com/office/drawing/2014/main" id="{65BF11DC-A8F5-27C2-7D40-CF0A3E8E4751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직선 연결선[R] 117">
            <a:extLst>
              <a:ext uri="{FF2B5EF4-FFF2-40B4-BE49-F238E27FC236}">
                <a16:creationId xmlns:a16="http://schemas.microsoft.com/office/drawing/2014/main" id="{9C60B6FD-AE8C-B129-7407-4670D18B3E5E}"/>
              </a:ext>
            </a:extLst>
          </p:cNvPr>
          <p:cNvCxnSpPr>
            <a:cxnSpLocks/>
          </p:cNvCxnSpPr>
          <p:nvPr/>
        </p:nvCxnSpPr>
        <p:spPr>
          <a:xfrm>
            <a:off x="11785494" y="519833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직사각형 163">
            <a:extLst>
              <a:ext uri="{FF2B5EF4-FFF2-40B4-BE49-F238E27FC236}">
                <a16:creationId xmlns:a16="http://schemas.microsoft.com/office/drawing/2014/main" id="{BE58B3F6-FD49-3F5B-7370-7761B38EC69E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165" name="직사각형 164">
            <a:extLst>
              <a:ext uri="{FF2B5EF4-FFF2-40B4-BE49-F238E27FC236}">
                <a16:creationId xmlns:a16="http://schemas.microsoft.com/office/drawing/2014/main" id="{8642D59D-128C-71A1-5B0F-2D4D19CF7650}"/>
              </a:ext>
            </a:extLst>
          </p:cNvPr>
          <p:cNvSpPr/>
          <p:nvPr/>
        </p:nvSpPr>
        <p:spPr>
          <a:xfrm>
            <a:off x="11692678" y="4259401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166" name="직사각형 165">
            <a:extLst>
              <a:ext uri="{FF2B5EF4-FFF2-40B4-BE49-F238E27FC236}">
                <a16:creationId xmlns:a16="http://schemas.microsoft.com/office/drawing/2014/main" id="{246A74F1-CA89-4201-251E-F3EB61DFF4CF}"/>
              </a:ext>
            </a:extLst>
          </p:cNvPr>
          <p:cNvSpPr/>
          <p:nvPr/>
        </p:nvSpPr>
        <p:spPr>
          <a:xfrm>
            <a:off x="11692678" y="5208176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cxnSp>
        <p:nvCxnSpPr>
          <p:cNvPr id="170" name="직선 연결선[R] 93">
            <a:extLst>
              <a:ext uri="{FF2B5EF4-FFF2-40B4-BE49-F238E27FC236}">
                <a16:creationId xmlns:a16="http://schemas.microsoft.com/office/drawing/2014/main" id="{C989F468-7D46-68E7-BFD2-958097F78FCC}"/>
              </a:ext>
            </a:extLst>
          </p:cNvPr>
          <p:cNvCxnSpPr>
            <a:cxnSpLocks/>
          </p:cNvCxnSpPr>
          <p:nvPr/>
        </p:nvCxnSpPr>
        <p:spPr>
          <a:xfrm>
            <a:off x="11785494" y="4195079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직사각형 170">
            <a:extLst>
              <a:ext uri="{FF2B5EF4-FFF2-40B4-BE49-F238E27FC236}">
                <a16:creationId xmlns:a16="http://schemas.microsoft.com/office/drawing/2014/main" id="{78F91282-AD97-C9C3-4A52-5B84B1D07BE0}"/>
              </a:ext>
            </a:extLst>
          </p:cNvPr>
          <p:cNvSpPr/>
          <p:nvPr/>
        </p:nvSpPr>
        <p:spPr>
          <a:xfrm>
            <a:off x="11789546" y="2916414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BA3F3ABA-9558-079C-69F3-8210746A992B}"/>
              </a:ext>
            </a:extLst>
          </p:cNvPr>
          <p:cNvSpPr txBox="1"/>
          <p:nvPr/>
        </p:nvSpPr>
        <p:spPr>
          <a:xfrm>
            <a:off x="11829560" y="3170522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2</a:t>
            </a:r>
          </a:p>
        </p:txBody>
      </p:sp>
      <p:sp>
        <p:nvSpPr>
          <p:cNvPr id="175" name="직사각형 174">
            <a:extLst>
              <a:ext uri="{FF2B5EF4-FFF2-40B4-BE49-F238E27FC236}">
                <a16:creationId xmlns:a16="http://schemas.microsoft.com/office/drawing/2014/main" id="{77BD2997-61A3-5BC7-0B5D-7A9820DCD1C3}"/>
              </a:ext>
            </a:extLst>
          </p:cNvPr>
          <p:cNvSpPr/>
          <p:nvPr/>
        </p:nvSpPr>
        <p:spPr>
          <a:xfrm>
            <a:off x="11692678" y="2958775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grpSp>
        <p:nvGrpSpPr>
          <p:cNvPr id="176" name="그룹 175">
            <a:extLst>
              <a:ext uri="{FF2B5EF4-FFF2-40B4-BE49-F238E27FC236}">
                <a16:creationId xmlns:a16="http://schemas.microsoft.com/office/drawing/2014/main" id="{FAA32EC4-D62A-A56B-2FBB-E767E60A608C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177" name="모서리가 둥근 직사각형 84">
              <a:extLst>
                <a:ext uri="{FF2B5EF4-FFF2-40B4-BE49-F238E27FC236}">
                  <a16:creationId xmlns:a16="http://schemas.microsoft.com/office/drawing/2014/main" id="{88B5EA94-0A4D-472C-D18A-313E69D56592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09" name="모서리가 둥근 직사각형 85">
              <a:extLst>
                <a:ext uri="{FF2B5EF4-FFF2-40B4-BE49-F238E27FC236}">
                  <a16:creationId xmlns:a16="http://schemas.microsoft.com/office/drawing/2014/main" id="{A95AF494-01ED-BB68-91CA-4327FF58A3A7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10" name="모서리가 둥근 직사각형 86">
              <a:extLst>
                <a:ext uri="{FF2B5EF4-FFF2-40B4-BE49-F238E27FC236}">
                  <a16:creationId xmlns:a16="http://schemas.microsoft.com/office/drawing/2014/main" id="{2997064A-B1CD-08A5-D170-A88E9ED8BEF7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11" name="모서리가 둥근 직사각형 87">
              <a:extLst>
                <a:ext uri="{FF2B5EF4-FFF2-40B4-BE49-F238E27FC236}">
                  <a16:creationId xmlns:a16="http://schemas.microsoft.com/office/drawing/2014/main" id="{2314E37D-AFF1-E280-9A15-75AFB624349C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sp>
        <p:nvSpPr>
          <p:cNvPr id="212" name="TextBox 211">
            <a:extLst>
              <a:ext uri="{FF2B5EF4-FFF2-40B4-BE49-F238E27FC236}">
                <a16:creationId xmlns:a16="http://schemas.microsoft.com/office/drawing/2014/main" id="{CAB28B73-DAE2-3CF0-51B2-33DB61724A9B}"/>
              </a:ext>
            </a:extLst>
          </p:cNvPr>
          <p:cNvSpPr txBox="1"/>
          <p:nvPr/>
        </p:nvSpPr>
        <p:spPr>
          <a:xfrm>
            <a:off x="10491400" y="392753"/>
            <a:ext cx="8612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900" b="1" dirty="0" err="1">
                <a:solidFill>
                  <a:schemeClr val="accent1">
                    <a:lumMod val="50000"/>
                  </a:schemeClr>
                </a:solidFill>
                <a:latin typeface="APPLE SD GOTHICNEO EXTRABOLD" panose="02000300000000000000" pitchFamily="2" charset="-127"/>
                <a:ea typeface="APPLE SD GOTHICNEO EXTRABOLD" panose="02000300000000000000" pitchFamily="2" charset="-127"/>
              </a:rPr>
              <a:t>대목차</a:t>
            </a:r>
            <a:r>
              <a:rPr kumimoji="1" lang="en-US" altLang="ko-KR" sz="900" b="1" dirty="0">
                <a:solidFill>
                  <a:schemeClr val="accent1">
                    <a:lumMod val="50000"/>
                  </a:schemeClr>
                </a:solidFill>
                <a:latin typeface="APPLE SD GOTHICNEO EXTRABOLD" panose="02000300000000000000" pitchFamily="2" charset="-127"/>
                <a:ea typeface="APPLE SD GOTHICNEO EXTRABOLD" panose="02000300000000000000" pitchFamily="2" charset="-127"/>
              </a:rPr>
              <a:t>2</a:t>
            </a:r>
            <a:endParaRPr kumimoji="1" lang="ko-KR" altLang="en-US" sz="900" b="1" dirty="0">
              <a:solidFill>
                <a:schemeClr val="accent1">
                  <a:lumMod val="50000"/>
                </a:schemeClr>
              </a:solidFill>
              <a:latin typeface="APPLE SD GOTHICNEO EXTRABOLD" panose="02000300000000000000" pitchFamily="2" charset="-127"/>
              <a:ea typeface="APPLE SD GOTHICNEO EXTRABOLD" panose="02000300000000000000" pitchFamily="2" charset="-127"/>
            </a:endParaRPr>
          </a:p>
        </p:txBody>
      </p:sp>
      <p:sp>
        <p:nvSpPr>
          <p:cNvPr id="213" name="바닥글 개체 틀 2">
            <a:extLst>
              <a:ext uri="{FF2B5EF4-FFF2-40B4-BE49-F238E27FC236}">
                <a16:creationId xmlns:a16="http://schemas.microsoft.com/office/drawing/2014/main" id="{4196C7F2-13C5-A548-9747-F5622D0246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54706" y="6492875"/>
            <a:ext cx="4526280" cy="365125"/>
          </a:xfrm>
        </p:spPr>
        <p:txBody>
          <a:bodyPr/>
          <a:lstStyle/>
          <a:p>
            <a:r>
              <a:rPr lang="en-US" altLang="ko-KR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- 5/8</a:t>
            </a:r>
            <a:r>
              <a:rPr lang="ko-KR" altLang="en-US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 </a:t>
            </a:r>
            <a:r>
              <a:rPr lang="en-US" altLang="ko-KR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-</a:t>
            </a:r>
            <a:endParaRPr lang="ko-KR" altLang="en-US" sz="1100" dirty="0">
              <a:latin typeface="Apple SD Gothic Neo" panose="02000300000000000000" pitchFamily="2" charset="-127"/>
              <a:ea typeface="Apple SD Gothic Neo" panose="02000300000000000000" pitchFamily="2" charset="-127"/>
            </a:endParaRPr>
          </a:p>
        </p:txBody>
      </p:sp>
      <p:pic>
        <p:nvPicPr>
          <p:cNvPr id="214" name="그림 213">
            <a:extLst>
              <a:ext uri="{FF2B5EF4-FFF2-40B4-BE49-F238E27FC236}">
                <a16:creationId xmlns:a16="http://schemas.microsoft.com/office/drawing/2014/main" id="{A23227F6-548E-A7BE-B439-7B27445D97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grpSp>
        <p:nvGrpSpPr>
          <p:cNvPr id="2" name="그룹 1">
            <a:extLst>
              <a:ext uri="{FF2B5EF4-FFF2-40B4-BE49-F238E27FC236}">
                <a16:creationId xmlns:a16="http://schemas.microsoft.com/office/drawing/2014/main" id="{41BC923A-2AB5-F929-EECA-6742E9DB7A64}"/>
              </a:ext>
            </a:extLst>
          </p:cNvPr>
          <p:cNvGrpSpPr/>
          <p:nvPr/>
        </p:nvGrpSpPr>
        <p:grpSpPr>
          <a:xfrm>
            <a:off x="9730738" y="1521984"/>
            <a:ext cx="1537816" cy="91503"/>
            <a:chOff x="9813518" y="1638458"/>
            <a:chExt cx="1416568" cy="84289"/>
          </a:xfrm>
        </p:grpSpPr>
        <p:sp>
          <p:nvSpPr>
            <p:cNvPr id="4" name="오각형[P] 102">
              <a:extLst>
                <a:ext uri="{FF2B5EF4-FFF2-40B4-BE49-F238E27FC236}">
                  <a16:creationId xmlns:a16="http://schemas.microsoft.com/office/drawing/2014/main" id="{53235A25-B43A-EABA-CF82-A73B88F01ACD}"/>
                </a:ext>
              </a:extLst>
            </p:cNvPr>
            <p:cNvSpPr/>
            <p:nvPr/>
          </p:nvSpPr>
          <p:spPr>
            <a:xfrm>
              <a:off x="10168686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5" name="오각형[P] 103">
              <a:extLst>
                <a:ext uri="{FF2B5EF4-FFF2-40B4-BE49-F238E27FC236}">
                  <a16:creationId xmlns:a16="http://schemas.microsoft.com/office/drawing/2014/main" id="{602FE2B7-2D1B-AF52-3422-08BDACF46E4F}"/>
                </a:ext>
              </a:extLst>
            </p:cNvPr>
            <p:cNvSpPr/>
            <p:nvPr/>
          </p:nvSpPr>
          <p:spPr>
            <a:xfrm>
              <a:off x="9813518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6" name="오각형[P] 104">
              <a:extLst>
                <a:ext uri="{FF2B5EF4-FFF2-40B4-BE49-F238E27FC236}">
                  <a16:creationId xmlns:a16="http://schemas.microsoft.com/office/drawing/2014/main" id="{1A1A2627-E368-D341-EFA5-7B46082635EE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8" name="오각형[P] 105">
              <a:extLst>
                <a:ext uri="{FF2B5EF4-FFF2-40B4-BE49-F238E27FC236}">
                  <a16:creationId xmlns:a16="http://schemas.microsoft.com/office/drawing/2014/main" id="{BDE8402F-7E25-75D6-F5A9-937842F07896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5746660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9C0BE5-100A-FBF6-BEBD-0FAE33E875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직사각형 44">
            <a:extLst>
              <a:ext uri="{FF2B5EF4-FFF2-40B4-BE49-F238E27FC236}">
                <a16:creationId xmlns:a16="http://schemas.microsoft.com/office/drawing/2014/main" id="{5FC713DF-2982-921D-C34A-264F28955D04}"/>
              </a:ext>
            </a:extLst>
          </p:cNvPr>
          <p:cNvSpPr/>
          <p:nvPr/>
        </p:nvSpPr>
        <p:spPr>
          <a:xfrm>
            <a:off x="-3251" y="201956"/>
            <a:ext cx="2435166" cy="97131"/>
          </a:xfrm>
          <a:prstGeom prst="rect">
            <a:avLst/>
          </a:prstGeom>
          <a:solidFill>
            <a:schemeClr val="accent1">
              <a:lumMod val="20000"/>
              <a:lumOff val="80000"/>
              <a:alpha val="5556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6" name="타원 45">
            <a:extLst>
              <a:ext uri="{FF2B5EF4-FFF2-40B4-BE49-F238E27FC236}">
                <a16:creationId xmlns:a16="http://schemas.microsoft.com/office/drawing/2014/main" id="{AA1D7F18-6467-B973-8DB6-4708017878F8}"/>
              </a:ext>
            </a:extLst>
          </p:cNvPr>
          <p:cNvSpPr/>
          <p:nvPr/>
        </p:nvSpPr>
        <p:spPr>
          <a:xfrm>
            <a:off x="441150" y="-164854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CF737879-8DF2-C06D-E622-B4E9055B1C30}"/>
              </a:ext>
            </a:extLst>
          </p:cNvPr>
          <p:cNvSpPr/>
          <p:nvPr/>
        </p:nvSpPr>
        <p:spPr>
          <a:xfrm>
            <a:off x="-99585" y="305393"/>
            <a:ext cx="473834" cy="473834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4B09DDAD-6EA1-B334-85CE-CBBD93A1C022}"/>
              </a:ext>
            </a:extLst>
          </p:cNvPr>
          <p:cNvSpPr/>
          <p:nvPr/>
        </p:nvSpPr>
        <p:spPr>
          <a:xfrm>
            <a:off x="-49606" y="362729"/>
            <a:ext cx="362736" cy="362736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008B6126-9E3E-D409-5FF2-01A9E4A1B033}"/>
              </a:ext>
            </a:extLst>
          </p:cNvPr>
          <p:cNvSpPr/>
          <p:nvPr/>
        </p:nvSpPr>
        <p:spPr>
          <a:xfrm>
            <a:off x="-11470" y="402524"/>
            <a:ext cx="285751" cy="285751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  <a:alpha val="4596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C564D00C-DFC0-23A1-11BA-12E766B7B86B}"/>
              </a:ext>
            </a:extLst>
          </p:cNvPr>
          <p:cNvSpPr/>
          <p:nvPr/>
        </p:nvSpPr>
        <p:spPr>
          <a:xfrm>
            <a:off x="102794" y="515129"/>
            <a:ext cx="64620" cy="64620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E8F1E739-93B6-6003-C83D-D86AC1763AF7}"/>
              </a:ext>
            </a:extLst>
          </p:cNvPr>
          <p:cNvGrpSpPr/>
          <p:nvPr/>
        </p:nvGrpSpPr>
        <p:grpSpPr>
          <a:xfrm>
            <a:off x="589246" y="-18827"/>
            <a:ext cx="172832" cy="172832"/>
            <a:chOff x="580536" y="72280"/>
            <a:chExt cx="195059" cy="195059"/>
          </a:xfrm>
        </p:grpSpPr>
        <p:sp>
          <p:nvSpPr>
            <p:cNvPr id="32" name="타원 31">
              <a:extLst>
                <a:ext uri="{FF2B5EF4-FFF2-40B4-BE49-F238E27FC236}">
                  <a16:creationId xmlns:a16="http://schemas.microsoft.com/office/drawing/2014/main" id="{B19E70AE-D343-69CB-C45B-4DEF84990E48}"/>
                </a:ext>
              </a:extLst>
            </p:cNvPr>
            <p:cNvSpPr/>
            <p:nvPr/>
          </p:nvSpPr>
          <p:spPr>
            <a:xfrm>
              <a:off x="637669" y="127683"/>
              <a:ext cx="80795" cy="80795"/>
            </a:xfrm>
            <a:prstGeom prst="ellipse">
              <a:avLst/>
            </a:prstGeom>
            <a:solidFill>
              <a:schemeClr val="accent1">
                <a:lumMod val="50000"/>
                <a:alpha val="7525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34" name="타원 33">
              <a:extLst>
                <a:ext uri="{FF2B5EF4-FFF2-40B4-BE49-F238E27FC236}">
                  <a16:creationId xmlns:a16="http://schemas.microsoft.com/office/drawing/2014/main" id="{AC92E9BA-89FC-3D42-790A-8304E33BB4D0}"/>
                </a:ext>
              </a:extLst>
            </p:cNvPr>
            <p:cNvSpPr/>
            <p:nvPr/>
          </p:nvSpPr>
          <p:spPr>
            <a:xfrm>
              <a:off x="580536" y="72280"/>
              <a:ext cx="195059" cy="195059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DF1435CC-AC09-18CA-6A1C-0EEE1A9C0510}"/>
              </a:ext>
            </a:extLst>
          </p:cNvPr>
          <p:cNvGrpSpPr/>
          <p:nvPr/>
        </p:nvGrpSpPr>
        <p:grpSpPr>
          <a:xfrm>
            <a:off x="696101" y="437864"/>
            <a:ext cx="261610" cy="261610"/>
            <a:chOff x="678067" y="495152"/>
            <a:chExt cx="308610" cy="308610"/>
          </a:xfrm>
        </p:grpSpPr>
        <p:sp>
          <p:nvSpPr>
            <p:cNvPr id="60" name="타원 59">
              <a:extLst>
                <a:ext uri="{FF2B5EF4-FFF2-40B4-BE49-F238E27FC236}">
                  <a16:creationId xmlns:a16="http://schemas.microsoft.com/office/drawing/2014/main" id="{F07978F2-B390-FF52-C438-444AA523E3F3}"/>
                </a:ext>
              </a:extLst>
            </p:cNvPr>
            <p:cNvSpPr/>
            <p:nvPr/>
          </p:nvSpPr>
          <p:spPr>
            <a:xfrm>
              <a:off x="718098" y="535014"/>
              <a:ext cx="233530" cy="23353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48" name="타원 47">
              <a:extLst>
                <a:ext uri="{FF2B5EF4-FFF2-40B4-BE49-F238E27FC236}">
                  <a16:creationId xmlns:a16="http://schemas.microsoft.com/office/drawing/2014/main" id="{074F1856-0283-D9AC-2CF4-DF6920EAAAB2}"/>
                </a:ext>
              </a:extLst>
            </p:cNvPr>
            <p:cNvSpPr/>
            <p:nvPr/>
          </p:nvSpPr>
          <p:spPr>
            <a:xfrm>
              <a:off x="678067" y="495152"/>
              <a:ext cx="308610" cy="308610"/>
            </a:xfrm>
            <a:prstGeom prst="ellipse">
              <a:avLst/>
            </a:prstGeom>
            <a:noFill/>
            <a:ln>
              <a:solidFill>
                <a:schemeClr val="accent1">
                  <a:lumMod val="40000"/>
                  <a:lumOff val="60000"/>
                  <a:alpha val="4596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sp>
        <p:nvSpPr>
          <p:cNvPr id="61" name="타원 60">
            <a:extLst>
              <a:ext uri="{FF2B5EF4-FFF2-40B4-BE49-F238E27FC236}">
                <a16:creationId xmlns:a16="http://schemas.microsoft.com/office/drawing/2014/main" id="{D0E1C3F3-E0DD-0FBC-BCED-7004D78773E1}"/>
              </a:ext>
            </a:extLst>
          </p:cNvPr>
          <p:cNvSpPr/>
          <p:nvPr/>
        </p:nvSpPr>
        <p:spPr>
          <a:xfrm>
            <a:off x="811985" y="544968"/>
            <a:ext cx="45719" cy="45719"/>
          </a:xfrm>
          <a:prstGeom prst="ellipse">
            <a:avLst/>
          </a:prstGeom>
          <a:solidFill>
            <a:schemeClr val="accent1">
              <a:lumMod val="50000"/>
              <a:alpha val="7525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4" name="직선 연결선[R] 13">
            <a:extLst>
              <a:ext uri="{FF2B5EF4-FFF2-40B4-BE49-F238E27FC236}">
                <a16:creationId xmlns:a16="http://schemas.microsoft.com/office/drawing/2014/main" id="{6C7450F9-ADEA-6EA4-4BA0-D2F12DC7D3E1}"/>
              </a:ext>
            </a:extLst>
          </p:cNvPr>
          <p:cNvCxnSpPr>
            <a:cxnSpLocks/>
            <a:stCxn id="31" idx="7"/>
            <a:endCxn id="32" idx="4"/>
          </p:cNvCxnSpPr>
          <p:nvPr/>
        </p:nvCxnSpPr>
        <p:spPr>
          <a:xfrm flipV="1">
            <a:off x="157951" y="101851"/>
            <a:ext cx="517712" cy="422741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[R] 61">
            <a:extLst>
              <a:ext uri="{FF2B5EF4-FFF2-40B4-BE49-F238E27FC236}">
                <a16:creationId xmlns:a16="http://schemas.microsoft.com/office/drawing/2014/main" id="{F081FAC2-6D39-3B6C-00A3-7209DF69C37E}"/>
              </a:ext>
            </a:extLst>
          </p:cNvPr>
          <p:cNvCxnSpPr>
            <a:cxnSpLocks/>
            <a:stCxn id="61" idx="0"/>
            <a:endCxn id="32" idx="4"/>
          </p:cNvCxnSpPr>
          <p:nvPr/>
        </p:nvCxnSpPr>
        <p:spPr>
          <a:xfrm flipH="1" flipV="1">
            <a:off x="675663" y="101851"/>
            <a:ext cx="159182" cy="443117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>
            <a:extLst>
              <a:ext uri="{FF2B5EF4-FFF2-40B4-BE49-F238E27FC236}">
                <a16:creationId xmlns:a16="http://schemas.microsoft.com/office/drawing/2014/main" id="{50DE6CD3-679E-4BF8-6E0F-2DA30DD9ECA7}"/>
              </a:ext>
            </a:extLst>
          </p:cNvPr>
          <p:cNvCxnSpPr>
            <a:cxnSpLocks/>
            <a:stCxn id="31" idx="6"/>
            <a:endCxn id="61" idx="2"/>
          </p:cNvCxnSpPr>
          <p:nvPr/>
        </p:nvCxnSpPr>
        <p:spPr>
          <a:xfrm>
            <a:off x="167414" y="547439"/>
            <a:ext cx="644571" cy="20389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모서리가 둥근 직사각형 17">
            <a:extLst>
              <a:ext uri="{FF2B5EF4-FFF2-40B4-BE49-F238E27FC236}">
                <a16:creationId xmlns:a16="http://schemas.microsoft.com/office/drawing/2014/main" id="{4E5AAC8A-76B8-736D-4E98-36A3F2D70B59}"/>
              </a:ext>
            </a:extLst>
          </p:cNvPr>
          <p:cNvSpPr/>
          <p:nvPr/>
        </p:nvSpPr>
        <p:spPr>
          <a:xfrm>
            <a:off x="925829" y="364577"/>
            <a:ext cx="11385508" cy="399461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31B03935-3412-A354-5B6C-2549A00E746F}"/>
              </a:ext>
            </a:extLst>
          </p:cNvPr>
          <p:cNvSpPr/>
          <p:nvPr/>
        </p:nvSpPr>
        <p:spPr>
          <a:xfrm>
            <a:off x="1497330" y="387024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D7849B5-D6E3-E150-5CBA-8219BF71B8EE}"/>
              </a:ext>
            </a:extLst>
          </p:cNvPr>
          <p:cNvSpPr/>
          <p:nvPr/>
        </p:nvSpPr>
        <p:spPr>
          <a:xfrm>
            <a:off x="906316" y="671386"/>
            <a:ext cx="1783080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모서리가 둥근 직사각형 35">
            <a:extLst>
              <a:ext uri="{FF2B5EF4-FFF2-40B4-BE49-F238E27FC236}">
                <a16:creationId xmlns:a16="http://schemas.microsoft.com/office/drawing/2014/main" id="{11BBDEBC-8FBC-B3C8-D5CF-6F0F0E98317D}"/>
              </a:ext>
            </a:extLst>
          </p:cNvPr>
          <p:cNvSpPr/>
          <p:nvPr/>
        </p:nvSpPr>
        <p:spPr>
          <a:xfrm>
            <a:off x="930001" y="664954"/>
            <a:ext cx="11266640" cy="26161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A20C78EE-50B4-F599-9681-06502B4A28C6}"/>
              </a:ext>
            </a:extLst>
          </p:cNvPr>
          <p:cNvSpPr/>
          <p:nvPr/>
        </p:nvSpPr>
        <p:spPr>
          <a:xfrm>
            <a:off x="947420" y="683594"/>
            <a:ext cx="1910080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6BE9F758-3359-89F9-0597-8BE572E484D0}"/>
              </a:ext>
            </a:extLst>
          </p:cNvPr>
          <p:cNvSpPr/>
          <p:nvPr/>
        </p:nvSpPr>
        <p:spPr>
          <a:xfrm>
            <a:off x="945747" y="463310"/>
            <a:ext cx="11326157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10209ED-34BC-13D8-78C1-F21EBCD7F026}"/>
              </a:ext>
            </a:extLst>
          </p:cNvPr>
          <p:cNvSpPr/>
          <p:nvPr/>
        </p:nvSpPr>
        <p:spPr>
          <a:xfrm>
            <a:off x="12094802" y="615710"/>
            <a:ext cx="102919" cy="325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E676D6A7-FAA0-E34B-AC8F-9CDB51911D15}"/>
              </a:ext>
            </a:extLst>
          </p:cNvPr>
          <p:cNvSpPr/>
          <p:nvPr/>
        </p:nvSpPr>
        <p:spPr>
          <a:xfrm>
            <a:off x="906314" y="669978"/>
            <a:ext cx="96109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829BEC8B-D90E-ED22-BB00-4C8EC560CF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309" y="658882"/>
            <a:ext cx="45719" cy="6857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0FD765A5-8BE4-8C01-45D1-7C0C443ECC6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-1" r="36113" b="-27089"/>
          <a:stretch/>
        </p:blipFill>
        <p:spPr>
          <a:xfrm>
            <a:off x="12071943" y="887796"/>
            <a:ext cx="115618" cy="85763"/>
          </a:xfrm>
          <a:prstGeom prst="rect">
            <a:avLst/>
          </a:prstGeom>
        </p:spPr>
      </p:pic>
      <p:sp>
        <p:nvSpPr>
          <p:cNvPr id="74" name="삼각형 73">
            <a:extLst>
              <a:ext uri="{FF2B5EF4-FFF2-40B4-BE49-F238E27FC236}">
                <a16:creationId xmlns:a16="http://schemas.microsoft.com/office/drawing/2014/main" id="{78E9BB7A-0F5A-CE6F-6640-8E8CE2E4A240}"/>
              </a:ext>
            </a:extLst>
          </p:cNvPr>
          <p:cNvSpPr/>
          <p:nvPr/>
        </p:nvSpPr>
        <p:spPr>
          <a:xfrm rot="10800000">
            <a:off x="933721" y="380426"/>
            <a:ext cx="580292" cy="264525"/>
          </a:xfrm>
          <a:prstGeom prst="triangle">
            <a:avLst>
              <a:gd name="adj" fmla="val 5311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삼각형 77">
            <a:extLst>
              <a:ext uri="{FF2B5EF4-FFF2-40B4-BE49-F238E27FC236}">
                <a16:creationId xmlns:a16="http://schemas.microsoft.com/office/drawing/2014/main" id="{0A57A042-0CE0-A803-AAAC-C60EE0971506}"/>
              </a:ext>
            </a:extLst>
          </p:cNvPr>
          <p:cNvSpPr/>
          <p:nvPr/>
        </p:nvSpPr>
        <p:spPr>
          <a:xfrm>
            <a:off x="942215" y="643771"/>
            <a:ext cx="580292" cy="264525"/>
          </a:xfrm>
          <a:prstGeom prst="triangle">
            <a:avLst>
              <a:gd name="adj" fmla="val 45459"/>
            </a:avLst>
          </a:prstGeom>
          <a:solidFill>
            <a:schemeClr val="bg1">
              <a:lumMod val="8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9" name="삼각형 78">
            <a:extLst>
              <a:ext uri="{FF2B5EF4-FFF2-40B4-BE49-F238E27FC236}">
                <a16:creationId xmlns:a16="http://schemas.microsoft.com/office/drawing/2014/main" id="{30BEE820-CD47-D415-C4F9-9176A786E1AF}"/>
              </a:ext>
            </a:extLst>
          </p:cNvPr>
          <p:cNvSpPr/>
          <p:nvPr/>
        </p:nvSpPr>
        <p:spPr>
          <a:xfrm rot="5400000">
            <a:off x="814318" y="517595"/>
            <a:ext cx="521272" cy="264525"/>
          </a:xfrm>
          <a:prstGeom prst="triangle">
            <a:avLst>
              <a:gd name="adj" fmla="val 48194"/>
            </a:avLst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845C6A4-628B-E824-6EF0-A4B86646A7D3}"/>
              </a:ext>
            </a:extLst>
          </p:cNvPr>
          <p:cNvSpPr txBox="1"/>
          <p:nvPr/>
        </p:nvSpPr>
        <p:spPr>
          <a:xfrm>
            <a:off x="980876" y="380426"/>
            <a:ext cx="601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800" b="1" dirty="0">
                <a:solidFill>
                  <a:schemeClr val="accent1">
                    <a:lumMod val="50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2.</a:t>
            </a:r>
            <a:endParaRPr kumimoji="1" lang="ko-KR" altLang="en-US" sz="2800" b="1" dirty="0">
              <a:solidFill>
                <a:schemeClr val="accent1">
                  <a:lumMod val="50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84" name="호 83">
            <a:extLst>
              <a:ext uri="{FF2B5EF4-FFF2-40B4-BE49-F238E27FC236}">
                <a16:creationId xmlns:a16="http://schemas.microsoft.com/office/drawing/2014/main" id="{7B2DE8B9-FFE3-EA81-5BC8-0575853F52C3}"/>
              </a:ext>
            </a:extLst>
          </p:cNvPr>
          <p:cNvSpPr/>
          <p:nvPr/>
        </p:nvSpPr>
        <p:spPr>
          <a:xfrm rot="17137841">
            <a:off x="1036542" y="277196"/>
            <a:ext cx="111925" cy="310707"/>
          </a:xfrm>
          <a:prstGeom prst="arc">
            <a:avLst>
              <a:gd name="adj1" fmla="val 16066447"/>
              <a:gd name="adj2" fmla="val 18170980"/>
            </a:avLst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6" name="직선 연결선[R] 95">
            <a:extLst>
              <a:ext uri="{FF2B5EF4-FFF2-40B4-BE49-F238E27FC236}">
                <a16:creationId xmlns:a16="http://schemas.microsoft.com/office/drawing/2014/main" id="{F80D44A2-DE3D-869E-2D42-ABFF0AE109DA}"/>
              </a:ext>
            </a:extLst>
          </p:cNvPr>
          <p:cNvCxnSpPr/>
          <p:nvPr/>
        </p:nvCxnSpPr>
        <p:spPr>
          <a:xfrm>
            <a:off x="10196004" y="363691"/>
            <a:ext cx="1593542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98">
            <a:extLst>
              <a:ext uri="{FF2B5EF4-FFF2-40B4-BE49-F238E27FC236}">
                <a16:creationId xmlns:a16="http://schemas.microsoft.com/office/drawing/2014/main" id="{ADC622B6-334F-FA02-A1CE-B6818D30AD2C}"/>
              </a:ext>
            </a:extLst>
          </p:cNvPr>
          <p:cNvSpPr txBox="1"/>
          <p:nvPr/>
        </p:nvSpPr>
        <p:spPr>
          <a:xfrm>
            <a:off x="1092504" y="1496773"/>
            <a:ext cx="76037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Zero-shot learning</a:t>
            </a:r>
            <a:r>
              <a:rPr kumimoji="1" lang="ko-KR" altLang="en-US" sz="12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이란</a:t>
            </a: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EAE8A6C2-74EF-62BB-BA99-F06F09858EFB}"/>
              </a:ext>
            </a:extLst>
          </p:cNvPr>
          <p:cNvSpPr/>
          <p:nvPr/>
        </p:nvSpPr>
        <p:spPr>
          <a:xfrm>
            <a:off x="930001" y="1481770"/>
            <a:ext cx="76982" cy="2274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029" name="그룹 1028">
            <a:extLst>
              <a:ext uri="{FF2B5EF4-FFF2-40B4-BE49-F238E27FC236}">
                <a16:creationId xmlns:a16="http://schemas.microsoft.com/office/drawing/2014/main" id="{94A0B93F-5F46-75C6-F015-74D11A0EEF90}"/>
              </a:ext>
            </a:extLst>
          </p:cNvPr>
          <p:cNvGrpSpPr/>
          <p:nvPr/>
        </p:nvGrpSpPr>
        <p:grpSpPr>
          <a:xfrm>
            <a:off x="10824217" y="563937"/>
            <a:ext cx="303392" cy="303392"/>
            <a:chOff x="10664324" y="541615"/>
            <a:chExt cx="335092" cy="335092"/>
          </a:xfrm>
        </p:grpSpPr>
        <p:sp>
          <p:nvSpPr>
            <p:cNvPr id="1025" name="타원 1024">
              <a:extLst>
                <a:ext uri="{FF2B5EF4-FFF2-40B4-BE49-F238E27FC236}">
                  <a16:creationId xmlns:a16="http://schemas.microsoft.com/office/drawing/2014/main" id="{4562FFE4-F9C0-3C01-A37E-BB9647DF261A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027" name="타원 1026">
              <a:extLst>
                <a:ext uri="{FF2B5EF4-FFF2-40B4-BE49-F238E27FC236}">
                  <a16:creationId xmlns:a16="http://schemas.microsoft.com/office/drawing/2014/main" id="{08C4AE27-CBFC-89FF-DA6E-7FB0346A3220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36" name="타원 135">
              <a:extLst>
                <a:ext uri="{FF2B5EF4-FFF2-40B4-BE49-F238E27FC236}">
                  <a16:creationId xmlns:a16="http://schemas.microsoft.com/office/drawing/2014/main" id="{7424D341-5287-53E9-54DC-7D3DBD0553F0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D25F17C2-2876-A9E7-1AA7-FA16E343DCBC}"/>
              </a:ext>
            </a:extLst>
          </p:cNvPr>
          <p:cNvGrpSpPr/>
          <p:nvPr/>
        </p:nvGrpSpPr>
        <p:grpSpPr>
          <a:xfrm>
            <a:off x="12088967" y="362729"/>
            <a:ext cx="233991" cy="233991"/>
            <a:chOff x="10664324" y="541615"/>
            <a:chExt cx="335092" cy="335092"/>
          </a:xfrm>
        </p:grpSpPr>
        <p:sp>
          <p:nvSpPr>
            <p:cNvPr id="143" name="타원 142">
              <a:extLst>
                <a:ext uri="{FF2B5EF4-FFF2-40B4-BE49-F238E27FC236}">
                  <a16:creationId xmlns:a16="http://schemas.microsoft.com/office/drawing/2014/main" id="{531538AB-8129-4688-DADD-2BB14D3B9927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4" name="타원 143">
              <a:extLst>
                <a:ext uri="{FF2B5EF4-FFF2-40B4-BE49-F238E27FC236}">
                  <a16:creationId xmlns:a16="http://schemas.microsoft.com/office/drawing/2014/main" id="{D25B61E5-16CC-D1A4-1912-287C74AF298A}"/>
                </a:ext>
              </a:extLst>
            </p:cNvPr>
            <p:cNvSpPr/>
            <p:nvPr/>
          </p:nvSpPr>
          <p:spPr>
            <a:xfrm>
              <a:off x="10767972" y="651018"/>
              <a:ext cx="118418" cy="118418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45" name="타원 144">
              <a:extLst>
                <a:ext uri="{FF2B5EF4-FFF2-40B4-BE49-F238E27FC236}">
                  <a16:creationId xmlns:a16="http://schemas.microsoft.com/office/drawing/2014/main" id="{1C49423D-BECD-B10C-C9B5-D63B587AF23D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1034" name="현 1033">
            <a:extLst>
              <a:ext uri="{FF2B5EF4-FFF2-40B4-BE49-F238E27FC236}">
                <a16:creationId xmlns:a16="http://schemas.microsoft.com/office/drawing/2014/main" id="{346205D0-E7D3-EBC1-ACED-E7F562B79FEC}"/>
              </a:ext>
            </a:extLst>
          </p:cNvPr>
          <p:cNvSpPr/>
          <p:nvPr/>
        </p:nvSpPr>
        <p:spPr>
          <a:xfrm rot="16200000">
            <a:off x="11170486" y="257924"/>
            <a:ext cx="180743" cy="215922"/>
          </a:xfrm>
          <a:prstGeom prst="chord">
            <a:avLst>
              <a:gd name="adj1" fmla="val 5250972"/>
              <a:gd name="adj2" fmla="val 16200000"/>
            </a:avLst>
          </a:prstGeom>
          <a:noFill/>
          <a:ln>
            <a:solidFill>
              <a:srgbClr val="F7F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50" name="타원 149">
            <a:extLst>
              <a:ext uri="{FF2B5EF4-FFF2-40B4-BE49-F238E27FC236}">
                <a16:creationId xmlns:a16="http://schemas.microsoft.com/office/drawing/2014/main" id="{912584AC-E4FD-E008-3A5F-56F7FCA04786}"/>
              </a:ext>
            </a:extLst>
          </p:cNvPr>
          <p:cNvSpPr/>
          <p:nvPr/>
        </p:nvSpPr>
        <p:spPr>
          <a:xfrm flipH="1" flipV="1">
            <a:off x="11246057" y="409981"/>
            <a:ext cx="28800" cy="28800"/>
          </a:xfrm>
          <a:prstGeom prst="ellipse">
            <a:avLst/>
          </a:prstGeom>
          <a:solidFill>
            <a:srgbClr val="C2C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240FDC0B-EAD9-75DE-B4BF-9C9CB2CBE149}"/>
              </a:ext>
            </a:extLst>
          </p:cNvPr>
          <p:cNvGrpSpPr/>
          <p:nvPr/>
        </p:nvGrpSpPr>
        <p:grpSpPr>
          <a:xfrm>
            <a:off x="11417262" y="365903"/>
            <a:ext cx="308631" cy="303387"/>
            <a:chOff x="10664324" y="541615"/>
            <a:chExt cx="335092" cy="335092"/>
          </a:xfrm>
        </p:grpSpPr>
        <p:sp>
          <p:nvSpPr>
            <p:cNvPr id="152" name="타원 151">
              <a:extLst>
                <a:ext uri="{FF2B5EF4-FFF2-40B4-BE49-F238E27FC236}">
                  <a16:creationId xmlns:a16="http://schemas.microsoft.com/office/drawing/2014/main" id="{9D4BACAC-7E30-AD32-3287-C379016DDEE0}"/>
                </a:ext>
              </a:extLst>
            </p:cNvPr>
            <p:cNvSpPr/>
            <p:nvPr/>
          </p:nvSpPr>
          <p:spPr>
            <a:xfrm>
              <a:off x="10664324" y="541615"/>
              <a:ext cx="335092" cy="33509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4" name="타원 153">
              <a:extLst>
                <a:ext uri="{FF2B5EF4-FFF2-40B4-BE49-F238E27FC236}">
                  <a16:creationId xmlns:a16="http://schemas.microsoft.com/office/drawing/2014/main" id="{37F400B6-F36D-B462-9D21-EF9F713EB50A}"/>
                </a:ext>
              </a:extLst>
            </p:cNvPr>
            <p:cNvSpPr/>
            <p:nvPr/>
          </p:nvSpPr>
          <p:spPr>
            <a:xfrm>
              <a:off x="10798526" y="682376"/>
              <a:ext cx="55655" cy="55655"/>
            </a:xfrm>
            <a:prstGeom prst="ellipse">
              <a:avLst/>
            </a:prstGeom>
            <a:solidFill>
              <a:srgbClr val="C2C1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grpSp>
        <p:nvGrpSpPr>
          <p:cNvPr id="1035" name="그룹 1034">
            <a:extLst>
              <a:ext uri="{FF2B5EF4-FFF2-40B4-BE49-F238E27FC236}">
                <a16:creationId xmlns:a16="http://schemas.microsoft.com/office/drawing/2014/main" id="{0DB7B152-25B7-45E9-7CD7-5BD24AF1D3DD}"/>
              </a:ext>
            </a:extLst>
          </p:cNvPr>
          <p:cNvGrpSpPr/>
          <p:nvPr/>
        </p:nvGrpSpPr>
        <p:grpSpPr>
          <a:xfrm>
            <a:off x="11646245" y="403933"/>
            <a:ext cx="477443" cy="477443"/>
            <a:chOff x="11621320" y="384923"/>
            <a:chExt cx="521702" cy="521702"/>
          </a:xfrm>
        </p:grpSpPr>
        <p:grpSp>
          <p:nvGrpSpPr>
            <p:cNvPr id="138" name="그룹 137">
              <a:extLst>
                <a:ext uri="{FF2B5EF4-FFF2-40B4-BE49-F238E27FC236}">
                  <a16:creationId xmlns:a16="http://schemas.microsoft.com/office/drawing/2014/main" id="{174B751E-7AA6-8B47-59BC-51A631CFF65A}"/>
                </a:ext>
              </a:extLst>
            </p:cNvPr>
            <p:cNvGrpSpPr/>
            <p:nvPr/>
          </p:nvGrpSpPr>
          <p:grpSpPr>
            <a:xfrm>
              <a:off x="11643473" y="406346"/>
              <a:ext cx="480215" cy="480215"/>
              <a:chOff x="10664324" y="541615"/>
              <a:chExt cx="335092" cy="335092"/>
            </a:xfrm>
          </p:grpSpPr>
          <p:sp>
            <p:nvSpPr>
              <p:cNvPr id="139" name="타원 138">
                <a:extLst>
                  <a:ext uri="{FF2B5EF4-FFF2-40B4-BE49-F238E27FC236}">
                    <a16:creationId xmlns:a16="http://schemas.microsoft.com/office/drawing/2014/main" id="{D370E111-7EAB-FE54-EB09-41803D908AEE}"/>
                  </a:ext>
                </a:extLst>
              </p:cNvPr>
              <p:cNvSpPr/>
              <p:nvPr/>
            </p:nvSpPr>
            <p:spPr>
              <a:xfrm>
                <a:off x="10664324" y="541615"/>
                <a:ext cx="335092" cy="335092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 dirty="0"/>
              </a:p>
            </p:txBody>
          </p:sp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AB20794D-BFD9-67B8-E795-1D3017644611}"/>
                  </a:ext>
                </a:extLst>
              </p:cNvPr>
              <p:cNvSpPr/>
              <p:nvPr/>
            </p:nvSpPr>
            <p:spPr>
              <a:xfrm>
                <a:off x="10767972" y="651018"/>
                <a:ext cx="118418" cy="118418"/>
              </a:xfrm>
              <a:prstGeom prst="ellipse">
                <a:avLst/>
              </a:prstGeom>
              <a:noFill/>
              <a:ln>
                <a:solidFill>
                  <a:srgbClr val="F7F9F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5377039D-49FA-DFAC-E59E-223332DFE3AC}"/>
                  </a:ext>
                </a:extLst>
              </p:cNvPr>
              <p:cNvSpPr/>
              <p:nvPr/>
            </p:nvSpPr>
            <p:spPr>
              <a:xfrm>
                <a:off x="10798526" y="682376"/>
                <a:ext cx="55655" cy="55655"/>
              </a:xfrm>
              <a:prstGeom prst="ellipse">
                <a:avLst/>
              </a:prstGeom>
              <a:solidFill>
                <a:srgbClr val="C2C1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ko-KR" altLang="en-US"/>
              </a:p>
            </p:txBody>
          </p:sp>
        </p:grpSp>
        <p:sp>
          <p:nvSpPr>
            <p:cNvPr id="159" name="타원 158">
              <a:extLst>
                <a:ext uri="{FF2B5EF4-FFF2-40B4-BE49-F238E27FC236}">
                  <a16:creationId xmlns:a16="http://schemas.microsoft.com/office/drawing/2014/main" id="{9E590D36-6FA2-0332-8D35-0A95843D6259}"/>
                </a:ext>
              </a:extLst>
            </p:cNvPr>
            <p:cNvSpPr/>
            <p:nvPr/>
          </p:nvSpPr>
          <p:spPr>
            <a:xfrm>
              <a:off x="11621320" y="384923"/>
              <a:ext cx="521702" cy="521702"/>
            </a:xfrm>
            <a:prstGeom prst="ellipse">
              <a:avLst/>
            </a:prstGeom>
            <a:noFill/>
            <a:ln>
              <a:solidFill>
                <a:srgbClr val="F7F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 dirty="0"/>
            </a:p>
          </p:txBody>
        </p:sp>
      </p:grpSp>
      <p:cxnSp>
        <p:nvCxnSpPr>
          <p:cNvPr id="1037" name="직선 연결선[R] 1036">
            <a:extLst>
              <a:ext uri="{FF2B5EF4-FFF2-40B4-BE49-F238E27FC236}">
                <a16:creationId xmlns:a16="http://schemas.microsoft.com/office/drawing/2014/main" id="{DC479D9D-B492-FA9F-F56A-457DAC61D284}"/>
              </a:ext>
            </a:extLst>
          </p:cNvPr>
          <p:cNvCxnSpPr>
            <a:cxnSpLocks/>
            <a:stCxn id="154" idx="2"/>
            <a:endCxn id="150" idx="2"/>
          </p:cNvCxnSpPr>
          <p:nvPr/>
        </p:nvCxnSpPr>
        <p:spPr>
          <a:xfrm flipH="1" flipV="1">
            <a:off x="11274857" y="424381"/>
            <a:ext cx="266010" cy="94160"/>
          </a:xfrm>
          <a:prstGeom prst="line">
            <a:avLst/>
          </a:prstGeom>
          <a:ln w="6350"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직선 연결선[R] 1040">
            <a:extLst>
              <a:ext uri="{FF2B5EF4-FFF2-40B4-BE49-F238E27FC236}">
                <a16:creationId xmlns:a16="http://schemas.microsoft.com/office/drawing/2014/main" id="{D8A8F99D-E3BF-103D-787B-7CCFFA38EDB4}"/>
              </a:ext>
            </a:extLst>
          </p:cNvPr>
          <p:cNvCxnSpPr>
            <a:cxnSpLocks/>
          </p:cNvCxnSpPr>
          <p:nvPr/>
        </p:nvCxnSpPr>
        <p:spPr>
          <a:xfrm>
            <a:off x="11358857" y="382081"/>
            <a:ext cx="179700" cy="133167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직선 연결선[R] 1043">
            <a:extLst>
              <a:ext uri="{FF2B5EF4-FFF2-40B4-BE49-F238E27FC236}">
                <a16:creationId xmlns:a16="http://schemas.microsoft.com/office/drawing/2014/main" id="{821460D4-80FD-BFC6-DECF-3BB235D689A6}"/>
              </a:ext>
            </a:extLst>
          </p:cNvPr>
          <p:cNvCxnSpPr>
            <a:stCxn id="136" idx="7"/>
            <a:endCxn id="154" idx="3"/>
          </p:cNvCxnSpPr>
          <p:nvPr/>
        </p:nvCxnSpPr>
        <p:spPr>
          <a:xfrm flipV="1">
            <a:off x="10988734" y="536356"/>
            <a:ext cx="559640" cy="162405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직선 연결선[R] 1045">
            <a:extLst>
              <a:ext uri="{FF2B5EF4-FFF2-40B4-BE49-F238E27FC236}">
                <a16:creationId xmlns:a16="http://schemas.microsoft.com/office/drawing/2014/main" id="{939A0B7D-B451-C833-8F72-96FC17DFF005}"/>
              </a:ext>
            </a:extLst>
          </p:cNvPr>
          <p:cNvCxnSpPr>
            <a:stCxn id="136" idx="6"/>
            <a:endCxn id="141" idx="3"/>
          </p:cNvCxnSpPr>
          <p:nvPr/>
        </p:nvCxnSpPr>
        <p:spPr>
          <a:xfrm flipV="1">
            <a:off x="10996113" y="670451"/>
            <a:ext cx="857102" cy="4612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직선 연결선[R] 1047">
            <a:extLst>
              <a:ext uri="{FF2B5EF4-FFF2-40B4-BE49-F238E27FC236}">
                <a16:creationId xmlns:a16="http://schemas.microsoft.com/office/drawing/2014/main" id="{9638FC55-8A28-6248-9E44-81C76918CE66}"/>
              </a:ext>
            </a:extLst>
          </p:cNvPr>
          <p:cNvCxnSpPr>
            <a:stCxn id="154" idx="6"/>
            <a:endCxn id="141" idx="1"/>
          </p:cNvCxnSpPr>
          <p:nvPr/>
        </p:nvCxnSpPr>
        <p:spPr>
          <a:xfrm>
            <a:off x="11592127" y="518541"/>
            <a:ext cx="261088" cy="100296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직선 연결선[R] 1049">
            <a:extLst>
              <a:ext uri="{FF2B5EF4-FFF2-40B4-BE49-F238E27FC236}">
                <a16:creationId xmlns:a16="http://schemas.microsoft.com/office/drawing/2014/main" id="{5150E2EA-32EC-81B2-2158-B801A56BA276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140736" cy="240043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직선 연결선[R] 1053">
            <a:extLst>
              <a:ext uri="{FF2B5EF4-FFF2-40B4-BE49-F238E27FC236}">
                <a16:creationId xmlns:a16="http://schemas.microsoft.com/office/drawing/2014/main" id="{7231775F-12D6-FD22-8B80-3620E3F1F460}"/>
              </a:ext>
            </a:extLst>
          </p:cNvPr>
          <p:cNvCxnSpPr>
            <a:cxnSpLocks/>
            <a:stCxn id="141" idx="5"/>
          </p:cNvCxnSpPr>
          <p:nvPr/>
        </p:nvCxnSpPr>
        <p:spPr>
          <a:xfrm>
            <a:off x="11904829" y="670451"/>
            <a:ext cx="304164" cy="125308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직선 연결선[R] 1059">
            <a:extLst>
              <a:ext uri="{FF2B5EF4-FFF2-40B4-BE49-F238E27FC236}">
                <a16:creationId xmlns:a16="http://schemas.microsoft.com/office/drawing/2014/main" id="{D2A68720-2FAA-EC5D-DD80-5C05418F7686}"/>
              </a:ext>
            </a:extLst>
          </p:cNvPr>
          <p:cNvCxnSpPr>
            <a:endCxn id="22" idx="3"/>
          </p:cNvCxnSpPr>
          <p:nvPr/>
        </p:nvCxnSpPr>
        <p:spPr>
          <a:xfrm flipV="1">
            <a:off x="12045565" y="778587"/>
            <a:ext cx="152156" cy="125059"/>
          </a:xfrm>
          <a:prstGeom prst="line">
            <a:avLst/>
          </a:prstGeom>
          <a:ln>
            <a:solidFill>
              <a:srgbClr val="F7F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C56E02F3-4EBE-181A-0814-A11A62DEA05E}"/>
              </a:ext>
            </a:extLst>
          </p:cNvPr>
          <p:cNvSpPr/>
          <p:nvPr/>
        </p:nvSpPr>
        <p:spPr>
          <a:xfrm>
            <a:off x="12214458" y="171422"/>
            <a:ext cx="218879" cy="94880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98" name="직선 연결선[R] 97">
            <a:extLst>
              <a:ext uri="{FF2B5EF4-FFF2-40B4-BE49-F238E27FC236}">
                <a16:creationId xmlns:a16="http://schemas.microsoft.com/office/drawing/2014/main" id="{BCE9C0DF-1C0E-6687-B42E-9C206A4864CA}"/>
              </a:ext>
            </a:extLst>
          </p:cNvPr>
          <p:cNvCxnSpPr>
            <a:cxnSpLocks/>
          </p:cNvCxnSpPr>
          <p:nvPr/>
        </p:nvCxnSpPr>
        <p:spPr>
          <a:xfrm>
            <a:off x="10789913" y="362355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[R] 108">
            <a:extLst>
              <a:ext uri="{FF2B5EF4-FFF2-40B4-BE49-F238E27FC236}">
                <a16:creationId xmlns:a16="http://schemas.microsoft.com/office/drawing/2014/main" id="{8F4CC526-D212-1241-4947-0225685E9E32}"/>
              </a:ext>
            </a:extLst>
          </p:cNvPr>
          <p:cNvCxnSpPr>
            <a:cxnSpLocks/>
          </p:cNvCxnSpPr>
          <p:nvPr/>
        </p:nvCxnSpPr>
        <p:spPr>
          <a:xfrm>
            <a:off x="10942313" y="370384"/>
            <a:ext cx="1714184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62F3DD74-3D2F-0028-9404-9AD51C8155E5}"/>
              </a:ext>
            </a:extLst>
          </p:cNvPr>
          <p:cNvSpPr txBox="1"/>
          <p:nvPr/>
        </p:nvSpPr>
        <p:spPr>
          <a:xfrm>
            <a:off x="884159" y="128224"/>
            <a:ext cx="31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050" b="1" dirty="0">
                <a:solidFill>
                  <a:schemeClr val="accent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PPT </a:t>
            </a:r>
            <a:r>
              <a:rPr kumimoji="1" lang="ko-KR" altLang="en-US" sz="1050" b="1" dirty="0">
                <a:solidFill>
                  <a:schemeClr val="accent1">
                    <a:lumMod val="50000"/>
                  </a:schemeClr>
                </a:solidFill>
                <a:latin typeface="Apple SD Gothic Neo" panose="02000300000000000000" pitchFamily="2" charset="-127"/>
                <a:ea typeface="Apple SD Gothic Neo" panose="02000300000000000000" pitchFamily="2" charset="-127"/>
              </a:rPr>
              <a:t>템플릿 공모전</a:t>
            </a:r>
          </a:p>
        </p:txBody>
      </p: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4AB73757-62F5-6A02-B364-E2FA65A6A661}"/>
              </a:ext>
            </a:extLst>
          </p:cNvPr>
          <p:cNvSpPr/>
          <p:nvPr/>
        </p:nvSpPr>
        <p:spPr>
          <a:xfrm>
            <a:off x="3165231" y="1486994"/>
            <a:ext cx="6425578" cy="190426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dirty="0"/>
          </a:p>
        </p:txBody>
      </p:sp>
      <p:sp>
        <p:nvSpPr>
          <p:cNvPr id="213" name="바닥글 개체 틀 2">
            <a:extLst>
              <a:ext uri="{FF2B5EF4-FFF2-40B4-BE49-F238E27FC236}">
                <a16:creationId xmlns:a16="http://schemas.microsoft.com/office/drawing/2014/main" id="{142B884D-54E0-6F55-7F12-4C39E70FE8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54706" y="6492875"/>
            <a:ext cx="4526280" cy="365125"/>
          </a:xfrm>
        </p:spPr>
        <p:txBody>
          <a:bodyPr/>
          <a:lstStyle/>
          <a:p>
            <a:r>
              <a:rPr lang="en-US" altLang="ko-KR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- 6/8</a:t>
            </a:r>
            <a:r>
              <a:rPr lang="ko-KR" altLang="en-US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 </a:t>
            </a:r>
            <a:r>
              <a:rPr lang="en-US" altLang="ko-KR" sz="1100" dirty="0">
                <a:latin typeface="Apple SD Gothic Neo" panose="02000300000000000000" pitchFamily="2" charset="-127"/>
                <a:ea typeface="Apple SD Gothic Neo" panose="02000300000000000000" pitchFamily="2" charset="-127"/>
              </a:rPr>
              <a:t>-</a:t>
            </a:r>
            <a:endParaRPr lang="ko-KR" altLang="en-US" sz="1100" dirty="0">
              <a:latin typeface="Apple SD Gothic Neo" panose="02000300000000000000" pitchFamily="2" charset="-127"/>
              <a:ea typeface="Apple SD Gothic Neo" panose="02000300000000000000" pitchFamily="2" charset="-127"/>
            </a:endParaRPr>
          </a:p>
        </p:txBody>
      </p:sp>
      <p:pic>
        <p:nvPicPr>
          <p:cNvPr id="214" name="그림 213">
            <a:extLst>
              <a:ext uri="{FF2B5EF4-FFF2-40B4-BE49-F238E27FC236}">
                <a16:creationId xmlns:a16="http://schemas.microsoft.com/office/drawing/2014/main" id="{AAF22097-3A91-AF59-A242-ADC462F837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6679" y="6458584"/>
            <a:ext cx="1102898" cy="393234"/>
          </a:xfrm>
          <a:prstGeom prst="rect">
            <a:avLst/>
          </a:prstGeom>
        </p:spPr>
      </p:pic>
      <p:sp>
        <p:nvSpPr>
          <p:cNvPr id="222" name="직사각형 221">
            <a:extLst>
              <a:ext uri="{FF2B5EF4-FFF2-40B4-BE49-F238E27FC236}">
                <a16:creationId xmlns:a16="http://schemas.microsoft.com/office/drawing/2014/main" id="{FA80ED79-B91D-DDA6-7C44-5E3FFC175BAE}"/>
              </a:ext>
            </a:extLst>
          </p:cNvPr>
          <p:cNvSpPr/>
          <p:nvPr/>
        </p:nvSpPr>
        <p:spPr>
          <a:xfrm>
            <a:off x="9754810" y="3111273"/>
            <a:ext cx="1415772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성장목표</a:t>
            </a: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에 기반한 </a:t>
            </a:r>
            <a:br>
              <a:rPr lang="en-US" altLang="ko-KR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</a:br>
            <a:r>
              <a:rPr lang="ko-KR" altLang="en-US" sz="1200" spc="-50" dirty="0">
                <a:ln>
                  <a:solidFill>
                    <a:schemeClr val="tx2">
                      <a:tint val="1000"/>
                      <a:alpha val="0"/>
                    </a:schemeClr>
                  </a:solidFill>
                </a:ln>
                <a:solidFill>
                  <a:schemeClr val="bg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슬로건 제시</a:t>
            </a:r>
            <a:endParaRPr lang="ko-KR" altLang="en-US" sz="1200" dirty="0">
              <a:solidFill>
                <a:schemeClr val="bg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cxnSp>
        <p:nvCxnSpPr>
          <p:cNvPr id="263" name="직선 연결선[R] 116">
            <a:extLst>
              <a:ext uri="{FF2B5EF4-FFF2-40B4-BE49-F238E27FC236}">
                <a16:creationId xmlns:a16="http://schemas.microsoft.com/office/drawing/2014/main" id="{AB1356FE-A980-37EC-F990-5DB46A448813}"/>
              </a:ext>
            </a:extLst>
          </p:cNvPr>
          <p:cNvCxnSpPr>
            <a:cxnSpLocks/>
          </p:cNvCxnSpPr>
          <p:nvPr/>
        </p:nvCxnSpPr>
        <p:spPr>
          <a:xfrm>
            <a:off x="11785494" y="1915028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직사각형 263">
            <a:extLst>
              <a:ext uri="{FF2B5EF4-FFF2-40B4-BE49-F238E27FC236}">
                <a16:creationId xmlns:a16="http://schemas.microsoft.com/office/drawing/2014/main" id="{38DD1B77-3717-F2F0-02D2-9C6D2FD935B3}"/>
              </a:ext>
            </a:extLst>
          </p:cNvPr>
          <p:cNvSpPr/>
          <p:nvPr/>
        </p:nvSpPr>
        <p:spPr>
          <a:xfrm>
            <a:off x="11692678" y="1927949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Ⅰ</a:t>
            </a:r>
          </a:p>
        </p:txBody>
      </p:sp>
      <p:sp>
        <p:nvSpPr>
          <p:cNvPr id="265" name="직사각형 264">
            <a:extLst>
              <a:ext uri="{FF2B5EF4-FFF2-40B4-BE49-F238E27FC236}">
                <a16:creationId xmlns:a16="http://schemas.microsoft.com/office/drawing/2014/main" id="{452F994E-5FAE-FDDE-0E29-25CBF87FBA7F}"/>
              </a:ext>
            </a:extLst>
          </p:cNvPr>
          <p:cNvSpPr/>
          <p:nvPr/>
        </p:nvSpPr>
        <p:spPr>
          <a:xfrm>
            <a:off x="11692678" y="5025663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Ⅳ</a:t>
            </a:r>
            <a:endParaRPr lang="ko-KR" altLang="en-US" sz="1100" b="1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NANUMGOTHIC EXTRABOLD" panose="020D0604000000000000" pitchFamily="34" charset="-127"/>
              <a:ea typeface="NANUMGOTHIC EXTRABOLD" panose="020D0604000000000000" pitchFamily="34" charset="-127"/>
            </a:endParaRPr>
          </a:p>
        </p:txBody>
      </p:sp>
      <p:sp>
        <p:nvSpPr>
          <p:cNvPr id="266" name="직사각형 265">
            <a:extLst>
              <a:ext uri="{FF2B5EF4-FFF2-40B4-BE49-F238E27FC236}">
                <a16:creationId xmlns:a16="http://schemas.microsoft.com/office/drawing/2014/main" id="{D325E0C7-4CC8-8672-E247-BBDDE484E9A3}"/>
              </a:ext>
            </a:extLst>
          </p:cNvPr>
          <p:cNvSpPr/>
          <p:nvPr/>
        </p:nvSpPr>
        <p:spPr>
          <a:xfrm>
            <a:off x="11692678" y="2834264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10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Ⅱ</a:t>
            </a:r>
          </a:p>
        </p:txBody>
      </p:sp>
      <p:cxnSp>
        <p:nvCxnSpPr>
          <p:cNvPr id="267" name="직선 연결선[R] 111">
            <a:extLst>
              <a:ext uri="{FF2B5EF4-FFF2-40B4-BE49-F238E27FC236}">
                <a16:creationId xmlns:a16="http://schemas.microsoft.com/office/drawing/2014/main" id="{0D02B485-5A82-48F3-8B22-5831C9A55408}"/>
              </a:ext>
            </a:extLst>
          </p:cNvPr>
          <p:cNvCxnSpPr>
            <a:cxnSpLocks/>
          </p:cNvCxnSpPr>
          <p:nvPr/>
        </p:nvCxnSpPr>
        <p:spPr>
          <a:xfrm>
            <a:off x="11785494" y="2825264"/>
            <a:ext cx="411147" cy="0"/>
          </a:xfrm>
          <a:prstGeom prst="line">
            <a:avLst/>
          </a:prstGeom>
          <a:ln w="19050">
            <a:solidFill>
              <a:srgbClr val="9DABBC">
                <a:alpha val="8280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직선 연결선[R] 112">
            <a:extLst>
              <a:ext uri="{FF2B5EF4-FFF2-40B4-BE49-F238E27FC236}">
                <a16:creationId xmlns:a16="http://schemas.microsoft.com/office/drawing/2014/main" id="{23559B2C-5176-D64B-BBA3-E5965377E916}"/>
              </a:ext>
            </a:extLst>
          </p:cNvPr>
          <p:cNvCxnSpPr>
            <a:cxnSpLocks/>
          </p:cNvCxnSpPr>
          <p:nvPr/>
        </p:nvCxnSpPr>
        <p:spPr>
          <a:xfrm>
            <a:off x="11785494" y="5016664"/>
            <a:ext cx="411147" cy="0"/>
          </a:xfrm>
          <a:prstGeom prst="line">
            <a:avLst/>
          </a:prstGeom>
          <a:ln w="28575">
            <a:solidFill>
              <a:srgbClr val="9DAB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9" name="직사각형 268">
            <a:extLst>
              <a:ext uri="{FF2B5EF4-FFF2-40B4-BE49-F238E27FC236}">
                <a16:creationId xmlns:a16="http://schemas.microsoft.com/office/drawing/2014/main" id="{F4995BA4-D19E-0B3F-DE84-C3F8A58469A9}"/>
              </a:ext>
            </a:extLst>
          </p:cNvPr>
          <p:cNvSpPr/>
          <p:nvPr/>
        </p:nvSpPr>
        <p:spPr>
          <a:xfrm>
            <a:off x="11789546" y="3737999"/>
            <a:ext cx="402454" cy="1263270"/>
          </a:xfrm>
          <a:prstGeom prst="rect">
            <a:avLst/>
          </a:prstGeom>
          <a:solidFill>
            <a:srgbClr val="C3C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70" name="직사각형 269">
            <a:extLst>
              <a:ext uri="{FF2B5EF4-FFF2-40B4-BE49-F238E27FC236}">
                <a16:creationId xmlns:a16="http://schemas.microsoft.com/office/drawing/2014/main" id="{7A0F369C-7018-DFDB-4C05-15C3155B4CEF}"/>
              </a:ext>
            </a:extLst>
          </p:cNvPr>
          <p:cNvSpPr/>
          <p:nvPr/>
        </p:nvSpPr>
        <p:spPr>
          <a:xfrm>
            <a:off x="11692678" y="3780360"/>
            <a:ext cx="4855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ko-KR" sz="1100" b="1" dirty="0">
                <a:latin typeface="NANUMGOTHIC EXTRABOLD" panose="020D0604000000000000" pitchFamily="34" charset="-127"/>
                <a:ea typeface="NANUMGOTHIC EXTRABOLD" panose="020D0604000000000000" pitchFamily="34" charset="-127"/>
              </a:rPr>
              <a:t>Ⅲ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30DD04F2-0989-87CC-D97F-1BEF8260A689}"/>
              </a:ext>
            </a:extLst>
          </p:cNvPr>
          <p:cNvSpPr txBox="1"/>
          <p:nvPr/>
        </p:nvSpPr>
        <p:spPr>
          <a:xfrm>
            <a:off x="11829560" y="4005554"/>
            <a:ext cx="216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800" b="1" dirty="0" err="1">
                <a:latin typeface="NanumGothic" panose="020D0604000000000000" pitchFamily="34" charset="-127"/>
                <a:ea typeface="NanumGothic" panose="020D0604000000000000" pitchFamily="34" charset="-127"/>
              </a:rPr>
              <a:t>대목차</a:t>
            </a:r>
            <a:r>
              <a:rPr kumimoji="1" lang="en-US" altLang="ko-KR" sz="800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3</a:t>
            </a:r>
            <a:endParaRPr kumimoji="1" lang="ko-KR" altLang="en-US" sz="800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72" name="그룹 271">
            <a:extLst>
              <a:ext uri="{FF2B5EF4-FFF2-40B4-BE49-F238E27FC236}">
                <a16:creationId xmlns:a16="http://schemas.microsoft.com/office/drawing/2014/main" id="{FEA388A5-7CE3-4594-37B8-22C4EC87018E}"/>
              </a:ext>
            </a:extLst>
          </p:cNvPr>
          <p:cNvGrpSpPr/>
          <p:nvPr/>
        </p:nvGrpSpPr>
        <p:grpSpPr>
          <a:xfrm>
            <a:off x="10324542" y="184739"/>
            <a:ext cx="1265080" cy="180743"/>
            <a:chOff x="10352250" y="271844"/>
            <a:chExt cx="1148473" cy="134105"/>
          </a:xfrm>
        </p:grpSpPr>
        <p:sp>
          <p:nvSpPr>
            <p:cNvPr id="273" name="모서리가 둥근 직사각형 94">
              <a:extLst>
                <a:ext uri="{FF2B5EF4-FFF2-40B4-BE49-F238E27FC236}">
                  <a16:creationId xmlns:a16="http://schemas.microsoft.com/office/drawing/2014/main" id="{77DC3179-1B9C-8308-C136-F1CDBFD18D54}"/>
                </a:ext>
              </a:extLst>
            </p:cNvPr>
            <p:cNvSpPr/>
            <p:nvPr/>
          </p:nvSpPr>
          <p:spPr>
            <a:xfrm>
              <a:off x="11264183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25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Ⅳ</a:t>
              </a:r>
              <a:endParaRPr lang="ko-KR" altLang="en-US" sz="1050" b="1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NANUMGOTHIC EXTRABOLD" panose="020D0604000000000000" pitchFamily="34" charset="-127"/>
                <a:ea typeface="NANUMGOTHIC EXTRABOLD" panose="020D0604000000000000" pitchFamily="34" charset="-127"/>
              </a:endParaRPr>
            </a:p>
          </p:txBody>
        </p:sp>
        <p:sp>
          <p:nvSpPr>
            <p:cNvPr id="274" name="모서리가 둥근 직사각형 97">
              <a:extLst>
                <a:ext uri="{FF2B5EF4-FFF2-40B4-BE49-F238E27FC236}">
                  <a16:creationId xmlns:a16="http://schemas.microsoft.com/office/drawing/2014/main" id="{2F6D4EBD-8C22-11C3-A35F-4F0D4F342DC2}"/>
                </a:ext>
              </a:extLst>
            </p:cNvPr>
            <p:cNvSpPr/>
            <p:nvPr/>
          </p:nvSpPr>
          <p:spPr>
            <a:xfrm>
              <a:off x="10960662" y="271844"/>
              <a:ext cx="236540" cy="134105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b="1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Ⅲ</a:t>
              </a:r>
            </a:p>
          </p:txBody>
        </p:sp>
        <p:sp>
          <p:nvSpPr>
            <p:cNvPr id="275" name="모서리가 둥근 직사각형 108">
              <a:extLst>
                <a:ext uri="{FF2B5EF4-FFF2-40B4-BE49-F238E27FC236}">
                  <a16:creationId xmlns:a16="http://schemas.microsoft.com/office/drawing/2014/main" id="{7023BB9A-A818-90BE-64AB-AD71C6E47ED2}"/>
                </a:ext>
              </a:extLst>
            </p:cNvPr>
            <p:cNvSpPr/>
            <p:nvPr/>
          </p:nvSpPr>
          <p:spPr>
            <a:xfrm>
              <a:off x="10656456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Ⅱ</a:t>
              </a:r>
            </a:p>
          </p:txBody>
        </p:sp>
        <p:sp>
          <p:nvSpPr>
            <p:cNvPr id="276" name="모서리가 둥근 직사각형 117">
              <a:extLst>
                <a:ext uri="{FF2B5EF4-FFF2-40B4-BE49-F238E27FC236}">
                  <a16:creationId xmlns:a16="http://schemas.microsoft.com/office/drawing/2014/main" id="{DCC2339E-001F-87C7-CBFF-8605645BF1FF}"/>
                </a:ext>
              </a:extLst>
            </p:cNvPr>
            <p:cNvSpPr/>
            <p:nvPr/>
          </p:nvSpPr>
          <p:spPr>
            <a:xfrm>
              <a:off x="10352250" y="271844"/>
              <a:ext cx="236540" cy="134105"/>
            </a:xfrm>
            <a:prstGeom prst="roundRect">
              <a:avLst/>
            </a:prstGeom>
            <a:solidFill>
              <a:schemeClr val="bg1">
                <a:lumMod val="75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sz="1050" b="1" dirty="0">
                  <a:solidFill>
                    <a:schemeClr val="bg1">
                      <a:lumMod val="65000"/>
                    </a:schemeClr>
                  </a:solidFill>
                  <a:latin typeface="NANUMGOTHIC EXTRABOLD" panose="020D0604000000000000" pitchFamily="34" charset="-127"/>
                  <a:ea typeface="NANUMGOTHIC EXTRABOLD" panose="020D0604000000000000" pitchFamily="34" charset="-127"/>
                </a:rPr>
                <a:t>Ⅰ</a:t>
              </a:r>
            </a:p>
          </p:txBody>
        </p:sp>
      </p:grpSp>
      <p:sp>
        <p:nvSpPr>
          <p:cNvPr id="277" name="TextBox 276">
            <a:extLst>
              <a:ext uri="{FF2B5EF4-FFF2-40B4-BE49-F238E27FC236}">
                <a16:creationId xmlns:a16="http://schemas.microsoft.com/office/drawing/2014/main" id="{B509D64E-F41C-C242-ADF6-603C6093DE8F}"/>
              </a:ext>
            </a:extLst>
          </p:cNvPr>
          <p:cNvSpPr txBox="1"/>
          <p:nvPr/>
        </p:nvSpPr>
        <p:spPr>
          <a:xfrm>
            <a:off x="10844097" y="392753"/>
            <a:ext cx="98025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900" b="1" dirty="0" err="1">
                <a:solidFill>
                  <a:schemeClr val="accent1">
                    <a:lumMod val="50000"/>
                  </a:schemeClr>
                </a:solidFill>
                <a:latin typeface="APPLE SD GOTHICNEO EXTRABOLD" panose="02000300000000000000" pitchFamily="2" charset="-127"/>
                <a:ea typeface="APPLE SD GOTHICNEO EXTRABOLD" panose="02000300000000000000" pitchFamily="2" charset="-127"/>
              </a:rPr>
              <a:t>대목차</a:t>
            </a:r>
            <a:r>
              <a:rPr kumimoji="1" lang="en-US" altLang="ko-KR" sz="900" b="1" dirty="0">
                <a:solidFill>
                  <a:schemeClr val="accent1">
                    <a:lumMod val="50000"/>
                  </a:schemeClr>
                </a:solidFill>
                <a:latin typeface="APPLE SD GOTHICNEO EXTRABOLD" panose="02000300000000000000" pitchFamily="2" charset="-127"/>
                <a:ea typeface="APPLE SD GOTHICNEO EXTRABOLD" panose="02000300000000000000" pitchFamily="2" charset="-127"/>
              </a:rPr>
              <a:t>3</a:t>
            </a:r>
            <a:endParaRPr kumimoji="1" lang="ko-KR" altLang="en-US" sz="900" b="1" dirty="0">
              <a:solidFill>
                <a:schemeClr val="accent1">
                  <a:lumMod val="50000"/>
                </a:schemeClr>
              </a:solidFill>
              <a:latin typeface="APPLE SD GOTHICNEO EXTRABOLD" panose="02000300000000000000" pitchFamily="2" charset="-127"/>
              <a:ea typeface="APPLE SD GOTHICNEO EXTRABOLD" panose="02000300000000000000" pitchFamily="2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9235C7F5-5684-2989-BA88-C7CEF6838E74}"/>
              </a:ext>
            </a:extLst>
          </p:cNvPr>
          <p:cNvSpPr/>
          <p:nvPr/>
        </p:nvSpPr>
        <p:spPr>
          <a:xfrm>
            <a:off x="884159" y="1815111"/>
            <a:ext cx="10276928" cy="4602453"/>
          </a:xfrm>
          <a:prstGeom prst="rect">
            <a:avLst/>
          </a:prstGeom>
          <a:solidFill>
            <a:schemeClr val="accent1">
              <a:lumMod val="50000"/>
              <a:alpha val="10000"/>
            </a:schemeClr>
          </a:solidFill>
          <a:ln>
            <a:solidFill>
              <a:schemeClr val="accent1">
                <a:shade val="50000"/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kumimoji="1" lang="ko-KR" altLang="en-US" dirty="0">
                <a:solidFill>
                  <a:schemeClr val="tx1"/>
                </a:solidFill>
              </a:rPr>
              <a:t>레이블이 지정된 소수의 클래스 집합 데이터와 클래스에 대한 추가 정보를 이용하여</a:t>
            </a:r>
            <a:r>
              <a:rPr kumimoji="1" lang="en-US" altLang="ko-KR" dirty="0">
                <a:solidFill>
                  <a:schemeClr val="tx1"/>
                </a:solidFill>
              </a:rPr>
              <a:t>, </a:t>
            </a:r>
            <a:r>
              <a:rPr kumimoji="1" lang="ko-KR" altLang="en-US" dirty="0">
                <a:solidFill>
                  <a:schemeClr val="tx1"/>
                </a:solidFill>
              </a:rPr>
              <a:t>신규 클래스까지 잘 예측하도록 학습함</a:t>
            </a:r>
            <a:r>
              <a:rPr kumimoji="1" lang="en-US" altLang="ko-KR" dirty="0">
                <a:solidFill>
                  <a:schemeClr val="tx1"/>
                </a:solidFill>
              </a:rPr>
              <a:t>.</a:t>
            </a:r>
          </a:p>
          <a:p>
            <a:pPr>
              <a:lnSpc>
                <a:spcPct val="150000"/>
              </a:lnSpc>
            </a:pPr>
            <a:r>
              <a:rPr kumimoji="1" lang="ko-KR" altLang="en-US" dirty="0">
                <a:solidFill>
                  <a:schemeClr val="tx1"/>
                </a:solidFill>
              </a:rPr>
              <a:t>학습 할 때</a:t>
            </a:r>
            <a:r>
              <a:rPr kumimoji="1" lang="en-US" altLang="ko-KR" dirty="0">
                <a:solidFill>
                  <a:schemeClr val="tx1"/>
                </a:solidFill>
              </a:rPr>
              <a:t>, </a:t>
            </a:r>
            <a:r>
              <a:rPr kumimoji="1" lang="ko-KR" altLang="en-US" dirty="0">
                <a:solidFill>
                  <a:schemeClr val="tx1"/>
                </a:solidFill>
              </a:rPr>
              <a:t>레이블이 지정된 데이터와 추가 정보만을 사용해 학습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ko-KR" altLang="en-US" dirty="0">
                <a:solidFill>
                  <a:schemeClr val="tx1"/>
                </a:solidFill>
              </a:rPr>
              <a:t>테스트 할 때</a:t>
            </a:r>
            <a:r>
              <a:rPr kumimoji="1" lang="en-US" altLang="ko-KR" dirty="0">
                <a:solidFill>
                  <a:schemeClr val="tx1"/>
                </a:solidFill>
              </a:rPr>
              <a:t>, </a:t>
            </a:r>
            <a:r>
              <a:rPr kumimoji="1" lang="ko-KR" altLang="en-US" dirty="0">
                <a:solidFill>
                  <a:schemeClr val="tx1"/>
                </a:solidFill>
              </a:rPr>
              <a:t>학습 할 때 본 클래스의 데이터와 신규 클래스의 데이터를 가지고 레이블을 예측하도록 수행함</a:t>
            </a: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en-US" altLang="ko-K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kumimoji="1" lang="ko-KR" altLang="en-US" dirty="0">
              <a:solidFill>
                <a:schemeClr val="tx1"/>
              </a:solidFill>
            </a:endParaRPr>
          </a:p>
        </p:txBody>
      </p:sp>
      <p:grpSp>
        <p:nvGrpSpPr>
          <p:cNvPr id="10" name="그룹 9">
            <a:extLst>
              <a:ext uri="{FF2B5EF4-FFF2-40B4-BE49-F238E27FC236}">
                <a16:creationId xmlns:a16="http://schemas.microsoft.com/office/drawing/2014/main" id="{5A10741A-F234-CF05-7B43-6015AFF02AC1}"/>
              </a:ext>
            </a:extLst>
          </p:cNvPr>
          <p:cNvGrpSpPr/>
          <p:nvPr/>
        </p:nvGrpSpPr>
        <p:grpSpPr>
          <a:xfrm>
            <a:off x="9730738" y="1521984"/>
            <a:ext cx="1537816" cy="91503"/>
            <a:chOff x="9813518" y="1638458"/>
            <a:chExt cx="1416568" cy="84289"/>
          </a:xfrm>
        </p:grpSpPr>
        <p:sp>
          <p:nvSpPr>
            <p:cNvPr id="13" name="오각형[P] 102">
              <a:extLst>
                <a:ext uri="{FF2B5EF4-FFF2-40B4-BE49-F238E27FC236}">
                  <a16:creationId xmlns:a16="http://schemas.microsoft.com/office/drawing/2014/main" id="{80F6E754-5527-2F3D-AB02-BB8D54DB7673}"/>
                </a:ext>
              </a:extLst>
            </p:cNvPr>
            <p:cNvSpPr/>
            <p:nvPr/>
          </p:nvSpPr>
          <p:spPr>
            <a:xfrm>
              <a:off x="10168686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5" name="오각형[P] 103">
              <a:extLst>
                <a:ext uri="{FF2B5EF4-FFF2-40B4-BE49-F238E27FC236}">
                  <a16:creationId xmlns:a16="http://schemas.microsoft.com/office/drawing/2014/main" id="{78F597A3-14F4-33CB-C2D2-BABB38111873}"/>
                </a:ext>
              </a:extLst>
            </p:cNvPr>
            <p:cNvSpPr/>
            <p:nvPr/>
          </p:nvSpPr>
          <p:spPr>
            <a:xfrm>
              <a:off x="9813518" y="1638464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6" name="오각형[P] 104">
              <a:extLst>
                <a:ext uri="{FF2B5EF4-FFF2-40B4-BE49-F238E27FC236}">
                  <a16:creationId xmlns:a16="http://schemas.microsoft.com/office/drawing/2014/main" id="{14B58DB9-5044-B4C3-BD73-4D509570E099}"/>
                </a:ext>
              </a:extLst>
            </p:cNvPr>
            <p:cNvSpPr/>
            <p:nvPr/>
          </p:nvSpPr>
          <p:spPr>
            <a:xfrm>
              <a:off x="10536277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sp>
          <p:nvSpPr>
            <p:cNvPr id="17" name="오각형[P] 105">
              <a:extLst>
                <a:ext uri="{FF2B5EF4-FFF2-40B4-BE49-F238E27FC236}">
                  <a16:creationId xmlns:a16="http://schemas.microsoft.com/office/drawing/2014/main" id="{B3EEBD11-C35E-B191-D417-6E5F573CAED9}"/>
                </a:ext>
              </a:extLst>
            </p:cNvPr>
            <p:cNvSpPr/>
            <p:nvPr/>
          </p:nvSpPr>
          <p:spPr>
            <a:xfrm>
              <a:off x="10891441" y="1638458"/>
              <a:ext cx="338645" cy="84283"/>
            </a:xfrm>
            <a:prstGeom prst="homePlate">
              <a:avLst>
                <a:gd name="adj" fmla="val 26528"/>
              </a:avLst>
            </a:prstGeom>
            <a:solidFill>
              <a:schemeClr val="bg1">
                <a:lumMod val="75000"/>
                <a:alpha val="60859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620249F5-0758-4191-30FE-A4C390E890A4}"/>
              </a:ext>
            </a:extLst>
          </p:cNvPr>
          <p:cNvSpPr txBox="1"/>
          <p:nvPr/>
        </p:nvSpPr>
        <p:spPr>
          <a:xfrm>
            <a:off x="1606540" y="450119"/>
            <a:ext cx="31285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2000" b="1" dirty="0"/>
              <a:t>Zero-shot learning</a:t>
            </a:r>
            <a:endParaRPr kumimoji="1" lang="ko-KR" altLang="en-US" sz="2000" b="1" dirty="0"/>
          </a:p>
        </p:txBody>
      </p:sp>
      <p:pic>
        <p:nvPicPr>
          <p:cNvPr id="41" name="그림 40" descr="텍스트, 스크린샷, 폰트, 디자인이(가) 표시된 사진&#10;&#10;자동 생성된 설명">
            <a:extLst>
              <a:ext uri="{FF2B5EF4-FFF2-40B4-BE49-F238E27FC236}">
                <a16:creationId xmlns:a16="http://schemas.microsoft.com/office/drawing/2014/main" id="{49CEBDF9-A6BB-21AB-A3DB-55A5814F79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0877" y="4005554"/>
            <a:ext cx="3343006" cy="2110771"/>
          </a:xfrm>
          <a:prstGeom prst="rect">
            <a:avLst/>
          </a:prstGeom>
        </p:spPr>
      </p:pic>
      <p:pic>
        <p:nvPicPr>
          <p:cNvPr id="43" name="그림 42" descr="포유류, 얼룩말, 동물원이(가) 표시된 사진&#10;&#10;자동 생성된 설명">
            <a:extLst>
              <a:ext uri="{FF2B5EF4-FFF2-40B4-BE49-F238E27FC236}">
                <a16:creationId xmlns:a16="http://schemas.microsoft.com/office/drawing/2014/main" id="{B427D75D-7BD5-A376-E9B7-97B00C85A8CB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662" t="204" r="-662" b="4903"/>
          <a:stretch/>
        </p:blipFill>
        <p:spPr>
          <a:xfrm>
            <a:off x="4525368" y="3991956"/>
            <a:ext cx="1781424" cy="2124371"/>
          </a:xfrm>
          <a:prstGeom prst="rect">
            <a:avLst/>
          </a:prstGeom>
        </p:spPr>
      </p:pic>
      <p:pic>
        <p:nvPicPr>
          <p:cNvPr id="49" name="그림 48" descr="화이트, 텍스트, 디자인, 스타일러스이(가) 표시된 사진&#10;&#10;자동 생성된 설명">
            <a:extLst>
              <a:ext uri="{FF2B5EF4-FFF2-40B4-BE49-F238E27FC236}">
                <a16:creationId xmlns:a16="http://schemas.microsoft.com/office/drawing/2014/main" id="{55D2AB52-E867-4D8C-8A6D-7668EFF3FAA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18286" y="4005554"/>
            <a:ext cx="2177934" cy="2110771"/>
          </a:xfrm>
          <a:prstGeom prst="rect">
            <a:avLst/>
          </a:prstGeom>
        </p:spPr>
      </p:pic>
      <p:pic>
        <p:nvPicPr>
          <p:cNvPr id="51" name="그림 50">
            <a:extLst>
              <a:ext uri="{FF2B5EF4-FFF2-40B4-BE49-F238E27FC236}">
                <a16:creationId xmlns:a16="http://schemas.microsoft.com/office/drawing/2014/main" id="{CA36C0D9-0CD6-C219-A5EC-52404A277A0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96736" y="3991956"/>
            <a:ext cx="457264" cy="2124371"/>
          </a:xfrm>
          <a:prstGeom prst="rect">
            <a:avLst/>
          </a:prstGeom>
        </p:spPr>
      </p:pic>
      <p:pic>
        <p:nvPicPr>
          <p:cNvPr id="55" name="그림 54">
            <a:extLst>
              <a:ext uri="{FF2B5EF4-FFF2-40B4-BE49-F238E27FC236}">
                <a16:creationId xmlns:a16="http://schemas.microsoft.com/office/drawing/2014/main" id="{8F0F4E48-3D6A-B7E9-ED9A-8AF59A93EFC3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33746"/>
          <a:stretch/>
        </p:blipFill>
        <p:spPr>
          <a:xfrm>
            <a:off x="6227953" y="3991955"/>
            <a:ext cx="290333" cy="2124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0557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46</TotalTime>
  <Words>932</Words>
  <Application>Microsoft Office PowerPoint</Application>
  <PresentationFormat>와이드스크린</PresentationFormat>
  <Paragraphs>353</Paragraphs>
  <Slides>15</Slides>
  <Notes>15</Notes>
  <HiddenSlides>0</HiddenSlides>
  <MMClips>0</MMClips>
  <ScaleCrop>false</ScaleCrop>
  <HeadingPairs>
    <vt:vector size="8" baseType="variant">
      <vt:variant>
        <vt:lpstr>사용한 글꼴</vt:lpstr>
      </vt:variant>
      <vt:variant>
        <vt:i4>11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5</vt:i4>
      </vt:variant>
    </vt:vector>
  </HeadingPairs>
  <TitlesOfParts>
    <vt:vector size="28" baseType="lpstr">
      <vt:lpstr>Apple SD Gothic Neo</vt:lpstr>
      <vt:lpstr>APPLE SD GOTHICNEO EXTRABOLD</vt:lpstr>
      <vt:lpstr>-apple-system</vt:lpstr>
      <vt:lpstr>NANUMGOTHIC EXTRABOLD</vt:lpstr>
      <vt:lpstr>Noto Sans CJK KR Bold</vt:lpstr>
      <vt:lpstr>Noto Sans CJK KR Medium</vt:lpstr>
      <vt:lpstr>system-ui</vt:lpstr>
      <vt:lpstr>NanumGothic</vt:lpstr>
      <vt:lpstr>나눔명조 ExtraBold</vt:lpstr>
      <vt:lpstr>맑은 고딕</vt:lpstr>
      <vt:lpstr>Arial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Microsoft Office User</dc:creator>
  <cp:lastModifiedBy>안인성</cp:lastModifiedBy>
  <cp:revision>54</cp:revision>
  <dcterms:created xsi:type="dcterms:W3CDTF">2021-07-18T09:05:48Z</dcterms:created>
  <dcterms:modified xsi:type="dcterms:W3CDTF">2025-02-02T14:00:35Z</dcterms:modified>
</cp:coreProperties>
</file>